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5884" r:id="rId5"/>
    <p:sldId id="911" r:id="rId6"/>
    <p:sldId id="1232" r:id="rId7"/>
    <p:sldId id="912" r:id="rId8"/>
    <p:sldId id="5886" r:id="rId9"/>
    <p:sldId id="1091" r:id="rId10"/>
    <p:sldId id="914" r:id="rId11"/>
    <p:sldId id="917" r:id="rId12"/>
    <p:sldId id="913" r:id="rId13"/>
    <p:sldId id="915" r:id="rId14"/>
    <p:sldId id="916" r:id="rId15"/>
    <p:sldId id="918" r:id="rId16"/>
    <p:sldId id="5885" r:id="rId17"/>
    <p:sldId id="919" r:id="rId18"/>
    <p:sldId id="920" r:id="rId19"/>
    <p:sldId id="5887" r:id="rId20"/>
    <p:sldId id="5888" r:id="rId21"/>
    <p:sldId id="5889" r:id="rId22"/>
    <p:sldId id="5890" r:id="rId23"/>
    <p:sldId id="5891" r:id="rId24"/>
    <p:sldId id="5892" r:id="rId25"/>
    <p:sldId id="5893" r:id="rId26"/>
    <p:sldId id="5894" r:id="rId27"/>
    <p:sldId id="5895" r:id="rId28"/>
    <p:sldId id="5870" r:id="rId29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3" autoAdjust="0"/>
    <p:restoredTop sz="94660"/>
  </p:normalViewPr>
  <p:slideViewPr>
    <p:cSldViewPr snapToGrid="0">
      <p:cViewPr>
        <p:scale>
          <a:sx n="70" d="100"/>
          <a:sy n="70" d="100"/>
        </p:scale>
        <p:origin x="940" y="3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02/03/2024</a:t>
            </a:fld>
            <a:endParaRPr lang="en-GB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02/03/2024</a:t>
            </a:fld>
            <a:endParaRPr lang="en-GB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455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7675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 dirty="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 dirty="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 dirty="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crowd&#10;&#10;Description generated with high confidence">
            <a:extLst>
              <a:ext uri="{FF2B5EF4-FFF2-40B4-BE49-F238E27FC236}">
                <a16:creationId xmlns:a16="http://schemas.microsoft.com/office/drawing/2014/main" id="{A0379E20-441F-4C5C-9947-CE1D1DE487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64004" y="286476"/>
            <a:ext cx="7705459" cy="64148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2224B9D-90B1-461A-A87C-7913AA547E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80649" y="286477"/>
            <a:ext cx="1508827" cy="817511"/>
          </a:xfrm>
          <a:prstGeom prst="rect">
            <a:avLst/>
          </a:prstGeom>
        </p:spPr>
      </p:pic>
      <p:sp>
        <p:nvSpPr>
          <p:cNvPr id="10" name="Título 1">
            <a:extLst>
              <a:ext uri="{FF2B5EF4-FFF2-40B4-BE49-F238E27FC236}">
                <a16:creationId xmlns:a16="http://schemas.microsoft.com/office/drawing/2014/main" id="{C3260A64-1C56-4515-8DA9-4CAD4DB761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7542" y="414863"/>
            <a:ext cx="3975059" cy="6891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650"/>
              </a:spcAft>
              <a:defRPr sz="1517" b="1" i="0">
                <a:solidFill>
                  <a:srgbClr val="90292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ro-RO" dirty="0"/>
              <a:t>Lorem ipsum dolor sit amet </a:t>
            </a:r>
            <a:br>
              <a:rPr lang="en-US" dirty="0"/>
            </a:br>
            <a:r>
              <a:rPr lang="ro-RO" dirty="0"/>
              <a:t>consectetur adipiscing elit</a:t>
            </a:r>
            <a:endParaRPr lang="es-ES" dirty="0"/>
          </a:p>
        </p:txBody>
      </p:sp>
      <p:sp>
        <p:nvSpPr>
          <p:cNvPr id="11" name="Subtítulo 2">
            <a:extLst>
              <a:ext uri="{FF2B5EF4-FFF2-40B4-BE49-F238E27FC236}">
                <a16:creationId xmlns:a16="http://schemas.microsoft.com/office/drawing/2014/main" id="{FFBC3E65-1616-45C8-B304-E7835B70AC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7541" y="1103988"/>
            <a:ext cx="4588591" cy="5880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083"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dirty="0"/>
              <a:t>Lorem ipsum dolor sit amet, consectetur adipiscing elit. </a:t>
            </a:r>
            <a:endParaRPr lang="en-US" dirty="0"/>
          </a:p>
          <a:p>
            <a:r>
              <a:rPr lang="ro-RO" dirty="0"/>
              <a:t>Donec vel arcu arcu. Phasellus ultricies</a:t>
            </a:r>
            <a:r>
              <a:rPr lang="en-US" dirty="0"/>
              <a:t>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76163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3305A4ED-7923-4C52-87D8-E3361671152F}" type="datetimeFigureOut">
              <a:rPr lang="en-US" smtClean="0"/>
              <a:pPr/>
              <a:t>3/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1C1B7B7C-3FE7-4461-9E2D-3C20BA8BFD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80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  <p:sldLayoutId id="2147483654" r:id="rId6"/>
    <p:sldLayoutId id="2147483665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18" Type="http://schemas.openxmlformats.org/officeDocument/2006/relationships/image" Target="../media/image87.png"/><Relationship Id="rId3" Type="http://schemas.openxmlformats.org/officeDocument/2006/relationships/image" Target="../media/image73.png"/><Relationship Id="rId21" Type="http://schemas.openxmlformats.org/officeDocument/2006/relationships/image" Target="../media/image90.png"/><Relationship Id="rId7" Type="http://schemas.openxmlformats.org/officeDocument/2006/relationships/image" Target="../media/image76.png"/><Relationship Id="rId12" Type="http://schemas.openxmlformats.org/officeDocument/2006/relationships/image" Target="../media/image81.png"/><Relationship Id="rId17" Type="http://schemas.openxmlformats.org/officeDocument/2006/relationships/image" Target="../media/image86.png"/><Relationship Id="rId2" Type="http://schemas.openxmlformats.org/officeDocument/2006/relationships/image" Target="../media/image72.png"/><Relationship Id="rId16" Type="http://schemas.openxmlformats.org/officeDocument/2006/relationships/image" Target="../media/image85.png"/><Relationship Id="rId20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microsoft.com/office/2007/relationships/hdphoto" Target="../media/hdphoto4.wdp"/><Relationship Id="rId15" Type="http://schemas.openxmlformats.org/officeDocument/2006/relationships/image" Target="../media/image84.png"/><Relationship Id="rId10" Type="http://schemas.openxmlformats.org/officeDocument/2006/relationships/image" Target="../media/image79.png"/><Relationship Id="rId19" Type="http://schemas.openxmlformats.org/officeDocument/2006/relationships/image" Target="../media/image88.png"/><Relationship Id="rId4" Type="http://schemas.openxmlformats.org/officeDocument/2006/relationships/image" Target="../media/image74.png"/><Relationship Id="rId9" Type="http://schemas.openxmlformats.org/officeDocument/2006/relationships/image" Target="../media/image78.png"/><Relationship Id="rId14" Type="http://schemas.openxmlformats.org/officeDocument/2006/relationships/image" Target="../media/image83.png"/><Relationship Id="rId22" Type="http://schemas.openxmlformats.org/officeDocument/2006/relationships/image" Target="../media/image91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2.png"/><Relationship Id="rId18" Type="http://schemas.openxmlformats.org/officeDocument/2006/relationships/image" Target="../media/image107.png"/><Relationship Id="rId26" Type="http://schemas.openxmlformats.org/officeDocument/2006/relationships/image" Target="../media/image115.png"/><Relationship Id="rId3" Type="http://schemas.openxmlformats.org/officeDocument/2006/relationships/image" Target="../media/image93.png"/><Relationship Id="rId21" Type="http://schemas.openxmlformats.org/officeDocument/2006/relationships/image" Target="../media/image110.png"/><Relationship Id="rId7" Type="http://schemas.openxmlformats.org/officeDocument/2006/relationships/image" Target="../media/image97.png"/><Relationship Id="rId12" Type="http://schemas.openxmlformats.org/officeDocument/2006/relationships/image" Target="../media/image101.png"/><Relationship Id="rId17" Type="http://schemas.openxmlformats.org/officeDocument/2006/relationships/image" Target="../media/image106.png"/><Relationship Id="rId25" Type="http://schemas.openxmlformats.org/officeDocument/2006/relationships/image" Target="../media/image114.png"/><Relationship Id="rId33" Type="http://schemas.openxmlformats.org/officeDocument/2006/relationships/image" Target="../media/image61.png"/><Relationship Id="rId2" Type="http://schemas.openxmlformats.org/officeDocument/2006/relationships/image" Target="../media/image92.png"/><Relationship Id="rId16" Type="http://schemas.openxmlformats.org/officeDocument/2006/relationships/image" Target="../media/image105.png"/><Relationship Id="rId20" Type="http://schemas.openxmlformats.org/officeDocument/2006/relationships/image" Target="../media/image109.png"/><Relationship Id="rId29" Type="http://schemas.openxmlformats.org/officeDocument/2006/relationships/image" Target="../media/image1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png"/><Relationship Id="rId11" Type="http://schemas.openxmlformats.org/officeDocument/2006/relationships/image" Target="../media/image100.png"/><Relationship Id="rId24" Type="http://schemas.openxmlformats.org/officeDocument/2006/relationships/image" Target="../media/image113.png"/><Relationship Id="rId32" Type="http://schemas.openxmlformats.org/officeDocument/2006/relationships/image" Target="../media/image121.png"/><Relationship Id="rId5" Type="http://schemas.openxmlformats.org/officeDocument/2006/relationships/image" Target="../media/image95.png"/><Relationship Id="rId15" Type="http://schemas.openxmlformats.org/officeDocument/2006/relationships/image" Target="../media/image104.png"/><Relationship Id="rId23" Type="http://schemas.openxmlformats.org/officeDocument/2006/relationships/image" Target="../media/image112.png"/><Relationship Id="rId28" Type="http://schemas.openxmlformats.org/officeDocument/2006/relationships/image" Target="../media/image117.png"/><Relationship Id="rId10" Type="http://schemas.openxmlformats.org/officeDocument/2006/relationships/image" Target="../media/image34.png"/><Relationship Id="rId19" Type="http://schemas.openxmlformats.org/officeDocument/2006/relationships/image" Target="../media/image108.png"/><Relationship Id="rId31" Type="http://schemas.openxmlformats.org/officeDocument/2006/relationships/image" Target="../media/image12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Relationship Id="rId14" Type="http://schemas.openxmlformats.org/officeDocument/2006/relationships/image" Target="../media/image103.png"/><Relationship Id="rId22" Type="http://schemas.openxmlformats.org/officeDocument/2006/relationships/image" Target="../media/image111.png"/><Relationship Id="rId27" Type="http://schemas.openxmlformats.org/officeDocument/2006/relationships/image" Target="../media/image116.png"/><Relationship Id="rId30" Type="http://schemas.openxmlformats.org/officeDocument/2006/relationships/image" Target="../media/image119.png"/><Relationship Id="rId8" Type="http://schemas.openxmlformats.org/officeDocument/2006/relationships/image" Target="../media/image9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3.png"/><Relationship Id="rId18" Type="http://schemas.openxmlformats.org/officeDocument/2006/relationships/image" Target="../media/image138.png"/><Relationship Id="rId26" Type="http://schemas.openxmlformats.org/officeDocument/2006/relationships/image" Target="../media/image146.png"/><Relationship Id="rId39" Type="http://schemas.openxmlformats.org/officeDocument/2006/relationships/image" Target="../media/image159.png"/><Relationship Id="rId21" Type="http://schemas.openxmlformats.org/officeDocument/2006/relationships/image" Target="../media/image141.png"/><Relationship Id="rId34" Type="http://schemas.openxmlformats.org/officeDocument/2006/relationships/image" Target="../media/image154.png"/><Relationship Id="rId7" Type="http://schemas.openxmlformats.org/officeDocument/2006/relationships/image" Target="../media/image127.png"/><Relationship Id="rId12" Type="http://schemas.openxmlformats.org/officeDocument/2006/relationships/image" Target="../media/image132.png"/><Relationship Id="rId17" Type="http://schemas.openxmlformats.org/officeDocument/2006/relationships/image" Target="../media/image137.png"/><Relationship Id="rId25" Type="http://schemas.openxmlformats.org/officeDocument/2006/relationships/image" Target="../media/image145.png"/><Relationship Id="rId33" Type="http://schemas.openxmlformats.org/officeDocument/2006/relationships/image" Target="../media/image153.png"/><Relationship Id="rId38" Type="http://schemas.openxmlformats.org/officeDocument/2006/relationships/image" Target="../media/image158.png"/><Relationship Id="rId2" Type="http://schemas.openxmlformats.org/officeDocument/2006/relationships/image" Target="../media/image122.png"/><Relationship Id="rId16" Type="http://schemas.openxmlformats.org/officeDocument/2006/relationships/image" Target="../media/image136.png"/><Relationship Id="rId20" Type="http://schemas.openxmlformats.org/officeDocument/2006/relationships/image" Target="../media/image140.png"/><Relationship Id="rId29" Type="http://schemas.openxmlformats.org/officeDocument/2006/relationships/image" Target="../media/image1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6.png"/><Relationship Id="rId11" Type="http://schemas.openxmlformats.org/officeDocument/2006/relationships/image" Target="../media/image131.png"/><Relationship Id="rId24" Type="http://schemas.openxmlformats.org/officeDocument/2006/relationships/image" Target="../media/image144.png"/><Relationship Id="rId32" Type="http://schemas.openxmlformats.org/officeDocument/2006/relationships/image" Target="../media/image152.png"/><Relationship Id="rId37" Type="http://schemas.openxmlformats.org/officeDocument/2006/relationships/image" Target="../media/image157.png"/><Relationship Id="rId40" Type="http://schemas.openxmlformats.org/officeDocument/2006/relationships/image" Target="../media/image160.png"/><Relationship Id="rId5" Type="http://schemas.openxmlformats.org/officeDocument/2006/relationships/image" Target="../media/image125.png"/><Relationship Id="rId15" Type="http://schemas.openxmlformats.org/officeDocument/2006/relationships/image" Target="../media/image135.png"/><Relationship Id="rId23" Type="http://schemas.openxmlformats.org/officeDocument/2006/relationships/image" Target="../media/image143.png"/><Relationship Id="rId28" Type="http://schemas.openxmlformats.org/officeDocument/2006/relationships/image" Target="../media/image148.png"/><Relationship Id="rId36" Type="http://schemas.openxmlformats.org/officeDocument/2006/relationships/image" Target="../media/image156.png"/><Relationship Id="rId10" Type="http://schemas.openxmlformats.org/officeDocument/2006/relationships/image" Target="../media/image130.png"/><Relationship Id="rId19" Type="http://schemas.openxmlformats.org/officeDocument/2006/relationships/image" Target="../media/image139.png"/><Relationship Id="rId31" Type="http://schemas.openxmlformats.org/officeDocument/2006/relationships/image" Target="../media/image151.png"/><Relationship Id="rId4" Type="http://schemas.openxmlformats.org/officeDocument/2006/relationships/image" Target="../media/image124.png"/><Relationship Id="rId9" Type="http://schemas.openxmlformats.org/officeDocument/2006/relationships/image" Target="../media/image129.png"/><Relationship Id="rId14" Type="http://schemas.openxmlformats.org/officeDocument/2006/relationships/image" Target="../media/image134.png"/><Relationship Id="rId22" Type="http://schemas.openxmlformats.org/officeDocument/2006/relationships/image" Target="../media/image142.png"/><Relationship Id="rId27" Type="http://schemas.openxmlformats.org/officeDocument/2006/relationships/image" Target="../media/image147.png"/><Relationship Id="rId30" Type="http://schemas.openxmlformats.org/officeDocument/2006/relationships/image" Target="../media/image150.png"/><Relationship Id="rId35" Type="http://schemas.openxmlformats.org/officeDocument/2006/relationships/image" Target="../media/image155.png"/><Relationship Id="rId8" Type="http://schemas.openxmlformats.org/officeDocument/2006/relationships/image" Target="../media/image128.png"/><Relationship Id="rId3" Type="http://schemas.openxmlformats.org/officeDocument/2006/relationships/image" Target="../media/image1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5.png"/><Relationship Id="rId5" Type="http://schemas.openxmlformats.org/officeDocument/2006/relationships/image" Target="../media/image164.png"/><Relationship Id="rId4" Type="http://schemas.openxmlformats.org/officeDocument/2006/relationships/image" Target="../media/image16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iktok.com/@westelm/video/7072443758087818542?is_from_webapp=1&amp;sender_device=pc&amp;web_id6904337551525725701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ads.tiktok.com/" TargetMode="External"/><Relationship Id="rId2" Type="http://schemas.openxmlformats.org/officeDocument/2006/relationships/hyperlink" Target="https://blog.realeyesit.com/tiktok-ugc-and-brand-videos-outperform-other-ad-formats-in-driving-attention-in-mobile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4" Type="http://schemas.openxmlformats.org/officeDocument/2006/relationships/image" Target="../media/image17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tista.com/statistics/1095186/tiktok-us-users-age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microsoft.com/office/2007/relationships/hdphoto" Target="../media/hdphoto2.wdp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microsoft.com/office/2007/relationships/hdphoto" Target="../media/hdphoto1.wdp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26" Type="http://schemas.openxmlformats.org/officeDocument/2006/relationships/image" Target="../media/image46.png"/><Relationship Id="rId39" Type="http://schemas.openxmlformats.org/officeDocument/2006/relationships/image" Target="../media/image59.png"/><Relationship Id="rId21" Type="http://schemas.openxmlformats.org/officeDocument/2006/relationships/image" Target="../media/image41.png"/><Relationship Id="rId34" Type="http://schemas.openxmlformats.org/officeDocument/2006/relationships/image" Target="../media/image5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29" Type="http://schemas.openxmlformats.org/officeDocument/2006/relationships/image" Target="../media/image49.png"/><Relationship Id="rId41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1.png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37" Type="http://schemas.openxmlformats.org/officeDocument/2006/relationships/image" Target="../media/image57.png"/><Relationship Id="rId40" Type="http://schemas.openxmlformats.org/officeDocument/2006/relationships/image" Target="../media/image60.png"/><Relationship Id="rId5" Type="http://schemas.openxmlformats.org/officeDocument/2006/relationships/image" Target="../media/image26.png"/><Relationship Id="rId15" Type="http://schemas.openxmlformats.org/officeDocument/2006/relationships/image" Target="../media/image35.png"/><Relationship Id="rId23" Type="http://schemas.openxmlformats.org/officeDocument/2006/relationships/image" Target="../media/image43.png"/><Relationship Id="rId28" Type="http://schemas.openxmlformats.org/officeDocument/2006/relationships/image" Target="../media/image48.png"/><Relationship Id="rId36" Type="http://schemas.openxmlformats.org/officeDocument/2006/relationships/image" Target="../media/image56.png"/><Relationship Id="rId10" Type="http://schemas.openxmlformats.org/officeDocument/2006/relationships/image" Target="../media/image30.png"/><Relationship Id="rId19" Type="http://schemas.openxmlformats.org/officeDocument/2006/relationships/image" Target="../media/image39.png"/><Relationship Id="rId31" Type="http://schemas.openxmlformats.org/officeDocument/2006/relationships/image" Target="../media/image51.png"/><Relationship Id="rId4" Type="http://schemas.openxmlformats.org/officeDocument/2006/relationships/image" Target="../media/image25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Relationship Id="rId22" Type="http://schemas.openxmlformats.org/officeDocument/2006/relationships/image" Target="../media/image42.png"/><Relationship Id="rId27" Type="http://schemas.openxmlformats.org/officeDocument/2006/relationships/image" Target="../media/image47.png"/><Relationship Id="rId30" Type="http://schemas.openxmlformats.org/officeDocument/2006/relationships/image" Target="../media/image50.png"/><Relationship Id="rId35" Type="http://schemas.openxmlformats.org/officeDocument/2006/relationships/image" Target="../media/image55.png"/><Relationship Id="rId8" Type="http://schemas.microsoft.com/office/2007/relationships/hdphoto" Target="../media/hdphoto3.wdp"/><Relationship Id="rId3" Type="http://schemas.openxmlformats.org/officeDocument/2006/relationships/image" Target="../media/image24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5" Type="http://schemas.openxmlformats.org/officeDocument/2006/relationships/image" Target="../media/image45.png"/><Relationship Id="rId33" Type="http://schemas.openxmlformats.org/officeDocument/2006/relationships/image" Target="../media/image53.png"/><Relationship Id="rId38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671128" y="2627581"/>
            <a:ext cx="38713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TikTok</a:t>
            </a:r>
          </a:p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Marketing</a:t>
            </a:r>
            <a:endParaRPr lang="en" sz="3200" b="1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  <p:pic>
        <p:nvPicPr>
          <p:cNvPr id="2050" name="Picture 2" descr="Tiktok Logo PNG Vectors Free Download">
            <a:extLst>
              <a:ext uri="{FF2B5EF4-FFF2-40B4-BE49-F238E27FC236}">
                <a16:creationId xmlns:a16="http://schemas.microsoft.com/office/drawing/2014/main" id="{472DA629-19B1-42A3-97ED-046893322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945" y="4396702"/>
            <a:ext cx="883077" cy="883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66405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2B4DB0-AC04-490E-9358-44F2CCD47B74}"/>
              </a:ext>
            </a:extLst>
          </p:cNvPr>
          <p:cNvSpPr/>
          <p:nvPr/>
        </p:nvSpPr>
        <p:spPr>
          <a:xfrm>
            <a:off x="688975" y="915280"/>
            <a:ext cx="274317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Top Content Typ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973C32-0DD3-4080-BA05-5313CBA28BD2}"/>
              </a:ext>
            </a:extLst>
          </p:cNvPr>
          <p:cNvSpPr txBox="1"/>
          <p:nvPr/>
        </p:nvSpPr>
        <p:spPr>
          <a:xfrm>
            <a:off x="615403" y="2609737"/>
            <a:ext cx="4572000" cy="16385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medy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spirational Content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ips and Tutorial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ravel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8964B96C-1E45-4F41-9129-1833064B93F5}"/>
              </a:ext>
            </a:extLst>
          </p:cNvPr>
          <p:cNvSpPr/>
          <p:nvPr/>
        </p:nvSpPr>
        <p:spPr>
          <a:xfrm>
            <a:off x="5923936" y="1654869"/>
            <a:ext cx="2377856" cy="429967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1847EA2A-8165-430A-8FEE-5D6D69136528}"/>
              </a:ext>
            </a:extLst>
          </p:cNvPr>
          <p:cNvSpPr/>
          <p:nvPr/>
        </p:nvSpPr>
        <p:spPr>
          <a:xfrm>
            <a:off x="3657600" y="1632155"/>
            <a:ext cx="2390414" cy="43223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597928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7ADA5BC2-0D1A-4B3C-B3DA-B879A0925183}"/>
              </a:ext>
            </a:extLst>
          </p:cNvPr>
          <p:cNvSpPr/>
          <p:nvPr/>
        </p:nvSpPr>
        <p:spPr>
          <a:xfrm>
            <a:off x="1066800" y="4370997"/>
            <a:ext cx="3570846" cy="8248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9CEBFFBE-6F7C-40DF-9B0D-27E2B5ED1E99}"/>
              </a:ext>
            </a:extLst>
          </p:cNvPr>
          <p:cNvSpPr/>
          <p:nvPr/>
        </p:nvSpPr>
        <p:spPr>
          <a:xfrm>
            <a:off x="1067499" y="5285397"/>
            <a:ext cx="3643680" cy="4037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26">
            <a:extLst>
              <a:ext uri="{FF2B5EF4-FFF2-40B4-BE49-F238E27FC236}">
                <a16:creationId xmlns:a16="http://schemas.microsoft.com/office/drawing/2014/main" id="{565475C9-B6C2-4CC8-9012-CAF1F3101C65}"/>
              </a:ext>
            </a:extLst>
          </p:cNvPr>
          <p:cNvSpPr/>
          <p:nvPr/>
        </p:nvSpPr>
        <p:spPr>
          <a:xfrm>
            <a:off x="907855" y="576555"/>
            <a:ext cx="1717177" cy="540105"/>
          </a:xfrm>
          <a:prstGeom prst="rect">
            <a:avLst/>
          </a:prstGeom>
          <a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00" dirty="0">
              <a:latin typeface="Georgia" panose="02040502050405020303" pitchFamily="18" charset="0"/>
            </a:endParaRPr>
          </a:p>
        </p:txBody>
      </p:sp>
      <p:sp>
        <p:nvSpPr>
          <p:cNvPr id="13" name="object 131">
            <a:extLst>
              <a:ext uri="{FF2B5EF4-FFF2-40B4-BE49-F238E27FC236}">
                <a16:creationId xmlns:a16="http://schemas.microsoft.com/office/drawing/2014/main" id="{6FE11487-D122-484F-A972-7A49FA34C9E0}"/>
              </a:ext>
            </a:extLst>
          </p:cNvPr>
          <p:cNvSpPr/>
          <p:nvPr/>
        </p:nvSpPr>
        <p:spPr>
          <a:xfrm>
            <a:off x="5109680" y="4102977"/>
            <a:ext cx="914400" cy="914400"/>
          </a:xfrm>
          <a:custGeom>
            <a:avLst/>
            <a:gdLst/>
            <a:ahLst/>
            <a:cxnLst/>
            <a:rect l="l" t="t" r="r" b="b"/>
            <a:pathLst>
              <a:path w="914400" h="914400">
                <a:moveTo>
                  <a:pt x="878112" y="763600"/>
                </a:moveTo>
                <a:lnTo>
                  <a:pt x="796305" y="763600"/>
                </a:lnTo>
                <a:lnTo>
                  <a:pt x="716904" y="857161"/>
                </a:lnTo>
                <a:lnTo>
                  <a:pt x="710584" y="868396"/>
                </a:lnTo>
                <a:lnTo>
                  <a:pt x="708563" y="881099"/>
                </a:lnTo>
                <a:lnTo>
                  <a:pt x="710825" y="893742"/>
                </a:lnTo>
                <a:lnTo>
                  <a:pt x="717349" y="904798"/>
                </a:lnTo>
                <a:lnTo>
                  <a:pt x="727112" y="912077"/>
                </a:lnTo>
                <a:lnTo>
                  <a:pt x="738143" y="914399"/>
                </a:lnTo>
                <a:lnTo>
                  <a:pt x="749115" y="911788"/>
                </a:lnTo>
                <a:lnTo>
                  <a:pt x="758700" y="904265"/>
                </a:lnTo>
                <a:lnTo>
                  <a:pt x="878112" y="763600"/>
                </a:lnTo>
                <a:close/>
              </a:path>
              <a:path w="914400" h="914400">
                <a:moveTo>
                  <a:pt x="35689" y="0"/>
                </a:moveTo>
                <a:lnTo>
                  <a:pt x="34178" y="0"/>
                </a:lnTo>
                <a:lnTo>
                  <a:pt x="24017" y="2107"/>
                </a:lnTo>
                <a:lnTo>
                  <a:pt x="887" y="74172"/>
                </a:lnTo>
                <a:lnTo>
                  <a:pt x="0" y="119610"/>
                </a:lnTo>
                <a:lnTo>
                  <a:pt x="2553" y="164633"/>
                </a:lnTo>
                <a:lnTo>
                  <a:pt x="8438" y="209100"/>
                </a:lnTo>
                <a:lnTo>
                  <a:pt x="17547" y="252869"/>
                </a:lnTo>
                <a:lnTo>
                  <a:pt x="29773" y="295800"/>
                </a:lnTo>
                <a:lnTo>
                  <a:pt x="45006" y="337750"/>
                </a:lnTo>
                <a:lnTo>
                  <a:pt x="63138" y="378580"/>
                </a:lnTo>
                <a:lnTo>
                  <a:pt x="84062" y="418147"/>
                </a:lnTo>
                <a:lnTo>
                  <a:pt x="107669" y="456310"/>
                </a:lnTo>
                <a:lnTo>
                  <a:pt x="133850" y="492928"/>
                </a:lnTo>
                <a:lnTo>
                  <a:pt x="162498" y="527859"/>
                </a:lnTo>
                <a:lnTo>
                  <a:pt x="193505" y="560964"/>
                </a:lnTo>
                <a:lnTo>
                  <a:pt x="226762" y="592099"/>
                </a:lnTo>
                <a:lnTo>
                  <a:pt x="262160" y="621124"/>
                </a:lnTo>
                <a:lnTo>
                  <a:pt x="299592" y="647898"/>
                </a:lnTo>
                <a:lnTo>
                  <a:pt x="338950" y="672279"/>
                </a:lnTo>
                <a:lnTo>
                  <a:pt x="380125" y="694126"/>
                </a:lnTo>
                <a:lnTo>
                  <a:pt x="423009" y="713298"/>
                </a:lnTo>
                <a:lnTo>
                  <a:pt x="467494" y="729654"/>
                </a:lnTo>
                <a:lnTo>
                  <a:pt x="513472" y="743052"/>
                </a:lnTo>
                <a:lnTo>
                  <a:pt x="560834" y="753351"/>
                </a:lnTo>
                <a:lnTo>
                  <a:pt x="612630" y="761909"/>
                </a:lnTo>
                <a:lnTo>
                  <a:pt x="664846" y="766984"/>
                </a:lnTo>
                <a:lnTo>
                  <a:pt x="727778" y="768555"/>
                </a:lnTo>
                <a:lnTo>
                  <a:pt x="796305" y="763600"/>
                </a:lnTo>
                <a:lnTo>
                  <a:pt x="878112" y="763600"/>
                </a:lnTo>
                <a:lnTo>
                  <a:pt x="906337" y="730351"/>
                </a:lnTo>
                <a:lnTo>
                  <a:pt x="906439" y="729830"/>
                </a:lnTo>
                <a:lnTo>
                  <a:pt x="908865" y="726668"/>
                </a:lnTo>
                <a:lnTo>
                  <a:pt x="910668" y="723645"/>
                </a:lnTo>
                <a:lnTo>
                  <a:pt x="911925" y="720242"/>
                </a:lnTo>
                <a:lnTo>
                  <a:pt x="912027" y="719899"/>
                </a:lnTo>
                <a:lnTo>
                  <a:pt x="912268" y="719645"/>
                </a:lnTo>
                <a:lnTo>
                  <a:pt x="912357" y="719302"/>
                </a:lnTo>
                <a:lnTo>
                  <a:pt x="913411" y="716216"/>
                </a:lnTo>
                <a:lnTo>
                  <a:pt x="914097" y="712914"/>
                </a:lnTo>
                <a:lnTo>
                  <a:pt x="914326" y="708952"/>
                </a:lnTo>
                <a:lnTo>
                  <a:pt x="914173" y="708431"/>
                </a:lnTo>
                <a:lnTo>
                  <a:pt x="914211" y="706742"/>
                </a:lnTo>
                <a:lnTo>
                  <a:pt x="914046" y="705726"/>
                </a:lnTo>
                <a:lnTo>
                  <a:pt x="913957" y="704634"/>
                </a:lnTo>
                <a:lnTo>
                  <a:pt x="913780" y="701674"/>
                </a:lnTo>
                <a:lnTo>
                  <a:pt x="913661" y="701031"/>
                </a:lnTo>
                <a:lnTo>
                  <a:pt x="734695" y="701031"/>
                </a:lnTo>
                <a:lnTo>
                  <a:pt x="672547" y="699901"/>
                </a:lnTo>
                <a:lnTo>
                  <a:pt x="620575" y="695015"/>
                </a:lnTo>
                <a:lnTo>
                  <a:pt x="570829" y="686955"/>
                </a:lnTo>
                <a:lnTo>
                  <a:pt x="523377" y="676506"/>
                </a:lnTo>
                <a:lnTo>
                  <a:pt x="477463" y="662738"/>
                </a:lnTo>
                <a:lnTo>
                  <a:pt x="433217" y="645820"/>
                </a:lnTo>
                <a:lnTo>
                  <a:pt x="390772" y="625919"/>
                </a:lnTo>
                <a:lnTo>
                  <a:pt x="350256" y="603204"/>
                </a:lnTo>
                <a:lnTo>
                  <a:pt x="311802" y="577842"/>
                </a:lnTo>
                <a:lnTo>
                  <a:pt x="275540" y="550001"/>
                </a:lnTo>
                <a:lnTo>
                  <a:pt x="241600" y="519849"/>
                </a:lnTo>
                <a:lnTo>
                  <a:pt x="210114" y="487555"/>
                </a:lnTo>
                <a:lnTo>
                  <a:pt x="181212" y="453285"/>
                </a:lnTo>
                <a:lnTo>
                  <a:pt x="155025" y="417208"/>
                </a:lnTo>
                <a:lnTo>
                  <a:pt x="131684" y="379491"/>
                </a:lnTo>
                <a:lnTo>
                  <a:pt x="111319" y="340303"/>
                </a:lnTo>
                <a:lnTo>
                  <a:pt x="94062" y="299811"/>
                </a:lnTo>
                <a:lnTo>
                  <a:pt x="80042" y="258184"/>
                </a:lnTo>
                <a:lnTo>
                  <a:pt x="69392" y="215589"/>
                </a:lnTo>
                <a:lnTo>
                  <a:pt x="62242" y="172193"/>
                </a:lnTo>
                <a:lnTo>
                  <a:pt x="58721" y="128166"/>
                </a:lnTo>
                <a:lnTo>
                  <a:pt x="58962" y="83675"/>
                </a:lnTo>
                <a:lnTo>
                  <a:pt x="63095" y="38887"/>
                </a:lnTo>
                <a:lnTo>
                  <a:pt x="62588" y="25519"/>
                </a:lnTo>
                <a:lnTo>
                  <a:pt x="57838" y="13823"/>
                </a:lnTo>
                <a:lnTo>
                  <a:pt x="49630" y="5033"/>
                </a:lnTo>
                <a:lnTo>
                  <a:pt x="38750" y="380"/>
                </a:lnTo>
                <a:lnTo>
                  <a:pt x="37213" y="114"/>
                </a:lnTo>
                <a:lnTo>
                  <a:pt x="35689" y="0"/>
                </a:lnTo>
                <a:close/>
              </a:path>
              <a:path w="914400" h="914400">
                <a:moveTo>
                  <a:pt x="694156" y="558853"/>
                </a:moveTo>
                <a:lnTo>
                  <a:pt x="683024" y="560360"/>
                </a:lnTo>
                <a:lnTo>
                  <a:pt x="673211" y="566551"/>
                </a:lnTo>
                <a:lnTo>
                  <a:pt x="665977" y="576986"/>
                </a:lnTo>
                <a:lnTo>
                  <a:pt x="662811" y="589854"/>
                </a:lnTo>
                <a:lnTo>
                  <a:pt x="664117" y="602684"/>
                </a:lnTo>
                <a:lnTo>
                  <a:pt x="669499" y="614019"/>
                </a:lnTo>
                <a:lnTo>
                  <a:pt x="678563" y="622401"/>
                </a:lnTo>
                <a:lnTo>
                  <a:pt x="801105" y="695159"/>
                </a:lnTo>
                <a:lnTo>
                  <a:pt x="734695" y="701031"/>
                </a:lnTo>
                <a:lnTo>
                  <a:pt x="913661" y="701031"/>
                </a:lnTo>
                <a:lnTo>
                  <a:pt x="913259" y="698842"/>
                </a:lnTo>
                <a:lnTo>
                  <a:pt x="911811" y="693991"/>
                </a:lnTo>
                <a:lnTo>
                  <a:pt x="909906" y="689355"/>
                </a:lnTo>
                <a:lnTo>
                  <a:pt x="908115" y="685990"/>
                </a:lnTo>
                <a:lnTo>
                  <a:pt x="905664" y="683221"/>
                </a:lnTo>
                <a:lnTo>
                  <a:pt x="905550" y="683031"/>
                </a:lnTo>
                <a:lnTo>
                  <a:pt x="903480" y="680745"/>
                </a:lnTo>
                <a:lnTo>
                  <a:pt x="901143" y="678751"/>
                </a:lnTo>
                <a:lnTo>
                  <a:pt x="705347" y="562470"/>
                </a:lnTo>
                <a:lnTo>
                  <a:pt x="694156" y="558853"/>
                </a:lnTo>
                <a:close/>
              </a:path>
            </a:pathLst>
          </a:custGeom>
          <a:solidFill>
            <a:srgbClr val="1D1D1B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85969AB4-985B-43D1-BAEE-44B045F2C797}"/>
              </a:ext>
            </a:extLst>
          </p:cNvPr>
          <p:cNvGrpSpPr/>
          <p:nvPr/>
        </p:nvGrpSpPr>
        <p:grpSpPr>
          <a:xfrm>
            <a:off x="6678292" y="3306669"/>
            <a:ext cx="1463027" cy="2645460"/>
            <a:chOff x="5096127" y="3460712"/>
            <a:chExt cx="1463027" cy="2645460"/>
          </a:xfrm>
        </p:grpSpPr>
        <p:sp>
          <p:nvSpPr>
            <p:cNvPr id="15" name="object 124">
              <a:extLst>
                <a:ext uri="{FF2B5EF4-FFF2-40B4-BE49-F238E27FC236}">
                  <a16:creationId xmlns:a16="http://schemas.microsoft.com/office/drawing/2014/main" id="{20634697-D1DF-4A24-AA80-98B1A77222D3}"/>
                </a:ext>
              </a:extLst>
            </p:cNvPr>
            <p:cNvSpPr/>
            <p:nvPr/>
          </p:nvSpPr>
          <p:spPr>
            <a:xfrm>
              <a:off x="5096127" y="3460712"/>
              <a:ext cx="1463027" cy="264546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F1C4EE61-9B14-4DB9-8530-FE6D63FCE4C4}"/>
                </a:ext>
              </a:extLst>
            </p:cNvPr>
            <p:cNvGrpSpPr/>
            <p:nvPr/>
          </p:nvGrpSpPr>
          <p:grpSpPr>
            <a:xfrm>
              <a:off x="5539031" y="4546587"/>
              <a:ext cx="577215" cy="729285"/>
              <a:chOff x="5539031" y="4546587"/>
              <a:chExt cx="577215" cy="729285"/>
            </a:xfrm>
          </p:grpSpPr>
          <p:sp>
            <p:nvSpPr>
              <p:cNvPr id="17" name="object 126">
                <a:extLst>
                  <a:ext uri="{FF2B5EF4-FFF2-40B4-BE49-F238E27FC236}">
                    <a16:creationId xmlns:a16="http://schemas.microsoft.com/office/drawing/2014/main" id="{D1536BAD-BFF9-4501-8920-F57B2F685821}"/>
                  </a:ext>
                </a:extLst>
              </p:cNvPr>
              <p:cNvSpPr/>
              <p:nvPr/>
            </p:nvSpPr>
            <p:spPr>
              <a:xfrm>
                <a:off x="5624757" y="4546587"/>
                <a:ext cx="405765" cy="473709"/>
              </a:xfrm>
              <a:custGeom>
                <a:avLst/>
                <a:gdLst/>
                <a:ahLst/>
                <a:cxnLst/>
                <a:rect l="l" t="t" r="r" b="b"/>
                <a:pathLst>
                  <a:path w="405764" h="473709">
                    <a:moveTo>
                      <a:pt x="152653" y="181381"/>
                    </a:moveTo>
                    <a:lnTo>
                      <a:pt x="111768" y="187926"/>
                    </a:lnTo>
                    <a:lnTo>
                      <a:pt x="75995" y="203725"/>
                    </a:lnTo>
                    <a:lnTo>
                      <a:pt x="44797" y="228350"/>
                    </a:lnTo>
                    <a:lnTo>
                      <a:pt x="18821" y="263029"/>
                    </a:lnTo>
                    <a:lnTo>
                      <a:pt x="3126" y="307019"/>
                    </a:lnTo>
                    <a:lnTo>
                      <a:pt x="0" y="334251"/>
                    </a:lnTo>
                    <a:lnTo>
                      <a:pt x="575" y="351236"/>
                    </a:lnTo>
                    <a:lnTo>
                      <a:pt x="2990" y="367183"/>
                    </a:lnTo>
                    <a:lnTo>
                      <a:pt x="6197" y="380705"/>
                    </a:lnTo>
                    <a:lnTo>
                      <a:pt x="9078" y="390194"/>
                    </a:lnTo>
                    <a:lnTo>
                      <a:pt x="9143" y="390499"/>
                    </a:lnTo>
                    <a:lnTo>
                      <a:pt x="32397" y="432676"/>
                    </a:lnTo>
                    <a:lnTo>
                      <a:pt x="69406" y="462848"/>
                    </a:lnTo>
                    <a:lnTo>
                      <a:pt x="104763" y="473430"/>
                    </a:lnTo>
                    <a:lnTo>
                      <a:pt x="131876" y="472808"/>
                    </a:lnTo>
                    <a:lnTo>
                      <a:pt x="174775" y="466766"/>
                    </a:lnTo>
                    <a:lnTo>
                      <a:pt x="216098" y="449133"/>
                    </a:lnTo>
                    <a:lnTo>
                      <a:pt x="253210" y="414254"/>
                    </a:lnTo>
                    <a:lnTo>
                      <a:pt x="257112" y="408989"/>
                    </a:lnTo>
                    <a:lnTo>
                      <a:pt x="149532" y="408989"/>
                    </a:lnTo>
                    <a:lnTo>
                      <a:pt x="132162" y="404902"/>
                    </a:lnTo>
                    <a:lnTo>
                      <a:pt x="114185" y="395439"/>
                    </a:lnTo>
                    <a:lnTo>
                      <a:pt x="108000" y="391121"/>
                    </a:lnTo>
                    <a:lnTo>
                      <a:pt x="102654" y="385864"/>
                    </a:lnTo>
                    <a:lnTo>
                      <a:pt x="98234" y="379907"/>
                    </a:lnTo>
                    <a:lnTo>
                      <a:pt x="95351" y="378371"/>
                    </a:lnTo>
                    <a:lnTo>
                      <a:pt x="65049" y="343417"/>
                    </a:lnTo>
                    <a:lnTo>
                      <a:pt x="59664" y="311404"/>
                    </a:lnTo>
                    <a:lnTo>
                      <a:pt x="63255" y="294125"/>
                    </a:lnTo>
                    <a:lnTo>
                      <a:pt x="91643" y="256781"/>
                    </a:lnTo>
                    <a:lnTo>
                      <a:pt x="119643" y="240801"/>
                    </a:lnTo>
                    <a:lnTo>
                      <a:pt x="152653" y="240801"/>
                    </a:lnTo>
                    <a:lnTo>
                      <a:pt x="152653" y="181381"/>
                    </a:lnTo>
                    <a:close/>
                  </a:path>
                  <a:path w="405764" h="473709">
                    <a:moveTo>
                      <a:pt x="288848" y="0"/>
                    </a:moveTo>
                    <a:lnTo>
                      <a:pt x="227126" y="0"/>
                    </a:lnTo>
                    <a:lnTo>
                      <a:pt x="227083" y="336321"/>
                    </a:lnTo>
                    <a:lnTo>
                      <a:pt x="226694" y="344771"/>
                    </a:lnTo>
                    <a:lnTo>
                      <a:pt x="209081" y="385927"/>
                    </a:lnTo>
                    <a:lnTo>
                      <a:pt x="167231" y="408025"/>
                    </a:lnTo>
                    <a:lnTo>
                      <a:pt x="149532" y="408989"/>
                    </a:lnTo>
                    <a:lnTo>
                      <a:pt x="257112" y="408989"/>
                    </a:lnTo>
                    <a:lnTo>
                      <a:pt x="277545" y="372198"/>
                    </a:lnTo>
                    <a:lnTo>
                      <a:pt x="287309" y="327861"/>
                    </a:lnTo>
                    <a:lnTo>
                      <a:pt x="287832" y="318173"/>
                    </a:lnTo>
                    <a:lnTo>
                      <a:pt x="287832" y="144348"/>
                    </a:lnTo>
                    <a:lnTo>
                      <a:pt x="405612" y="144348"/>
                    </a:lnTo>
                    <a:lnTo>
                      <a:pt x="405612" y="116039"/>
                    </a:lnTo>
                    <a:lnTo>
                      <a:pt x="398172" y="114056"/>
                    </a:lnTo>
                    <a:lnTo>
                      <a:pt x="390850" y="111647"/>
                    </a:lnTo>
                    <a:lnTo>
                      <a:pt x="353763" y="90146"/>
                    </a:lnTo>
                    <a:lnTo>
                      <a:pt x="342239" y="79209"/>
                    </a:lnTo>
                    <a:lnTo>
                      <a:pt x="335510" y="74515"/>
                    </a:lnTo>
                    <a:lnTo>
                      <a:pt x="305188" y="42108"/>
                    </a:lnTo>
                    <a:lnTo>
                      <a:pt x="291725" y="12459"/>
                    </a:lnTo>
                    <a:lnTo>
                      <a:pt x="288848" y="0"/>
                    </a:lnTo>
                    <a:close/>
                  </a:path>
                  <a:path w="405764" h="473709">
                    <a:moveTo>
                      <a:pt x="152653" y="240801"/>
                    </a:moveTo>
                    <a:lnTo>
                      <a:pt x="119643" y="240801"/>
                    </a:lnTo>
                    <a:lnTo>
                      <a:pt x="132662" y="241954"/>
                    </a:lnTo>
                    <a:lnTo>
                      <a:pt x="152653" y="248119"/>
                    </a:lnTo>
                    <a:lnTo>
                      <a:pt x="152653" y="240801"/>
                    </a:lnTo>
                    <a:close/>
                  </a:path>
                  <a:path w="405764" h="473709">
                    <a:moveTo>
                      <a:pt x="405612" y="144348"/>
                    </a:moveTo>
                    <a:lnTo>
                      <a:pt x="287832" y="144348"/>
                    </a:lnTo>
                    <a:lnTo>
                      <a:pt x="288848" y="144932"/>
                    </a:lnTo>
                    <a:lnTo>
                      <a:pt x="302640" y="153987"/>
                    </a:lnTo>
                    <a:lnTo>
                      <a:pt x="353466" y="174879"/>
                    </a:lnTo>
                    <a:lnTo>
                      <a:pt x="405612" y="181991"/>
                    </a:lnTo>
                    <a:lnTo>
                      <a:pt x="405612" y="144348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9" name="object 130">
                <a:extLst>
                  <a:ext uri="{FF2B5EF4-FFF2-40B4-BE49-F238E27FC236}">
                    <a16:creationId xmlns:a16="http://schemas.microsoft.com/office/drawing/2014/main" id="{BF46FEF2-0B3C-4933-9E9C-6209C119B27C}"/>
                  </a:ext>
                </a:extLst>
              </p:cNvPr>
              <p:cNvSpPr/>
              <p:nvPr/>
            </p:nvSpPr>
            <p:spPr>
              <a:xfrm>
                <a:off x="5539031" y="5146967"/>
                <a:ext cx="577215" cy="128905"/>
              </a:xfrm>
              <a:custGeom>
                <a:avLst/>
                <a:gdLst/>
                <a:ahLst/>
                <a:cxnLst/>
                <a:rect l="l" t="t" r="r" b="b"/>
                <a:pathLst>
                  <a:path w="577214" h="128904">
                    <a:moveTo>
                      <a:pt x="402844" y="23736"/>
                    </a:moveTo>
                    <a:lnTo>
                      <a:pt x="382183" y="27854"/>
                    </a:lnTo>
                    <a:lnTo>
                      <a:pt x="365309" y="39082"/>
                    </a:lnTo>
                    <a:lnTo>
                      <a:pt x="353930" y="55727"/>
                    </a:lnTo>
                    <a:lnTo>
                      <a:pt x="349758" y="76098"/>
                    </a:lnTo>
                    <a:lnTo>
                      <a:pt x="353930" y="96479"/>
                    </a:lnTo>
                    <a:lnTo>
                      <a:pt x="365309" y="113123"/>
                    </a:lnTo>
                    <a:lnTo>
                      <a:pt x="382183" y="124345"/>
                    </a:lnTo>
                    <a:lnTo>
                      <a:pt x="402844" y="128460"/>
                    </a:lnTo>
                    <a:lnTo>
                      <a:pt x="423504" y="124345"/>
                    </a:lnTo>
                    <a:lnTo>
                      <a:pt x="440378" y="113123"/>
                    </a:lnTo>
                    <a:lnTo>
                      <a:pt x="447883" y="102146"/>
                    </a:lnTo>
                    <a:lnTo>
                      <a:pt x="402844" y="102146"/>
                    </a:lnTo>
                    <a:lnTo>
                      <a:pt x="392694" y="100103"/>
                    </a:lnTo>
                    <a:lnTo>
                      <a:pt x="384421" y="94527"/>
                    </a:lnTo>
                    <a:lnTo>
                      <a:pt x="378849" y="86249"/>
                    </a:lnTo>
                    <a:lnTo>
                      <a:pt x="376809" y="76098"/>
                    </a:lnTo>
                    <a:lnTo>
                      <a:pt x="378849" y="65962"/>
                    </a:lnTo>
                    <a:lnTo>
                      <a:pt x="384421" y="57691"/>
                    </a:lnTo>
                    <a:lnTo>
                      <a:pt x="392694" y="52118"/>
                    </a:lnTo>
                    <a:lnTo>
                      <a:pt x="402844" y="50076"/>
                    </a:lnTo>
                    <a:lnTo>
                      <a:pt x="447893" y="50076"/>
                    </a:lnTo>
                    <a:lnTo>
                      <a:pt x="440378" y="39082"/>
                    </a:lnTo>
                    <a:lnTo>
                      <a:pt x="423504" y="27854"/>
                    </a:lnTo>
                    <a:lnTo>
                      <a:pt x="402844" y="23736"/>
                    </a:lnTo>
                    <a:close/>
                  </a:path>
                  <a:path w="577214" h="128904">
                    <a:moveTo>
                      <a:pt x="317868" y="26517"/>
                    </a:moveTo>
                    <a:lnTo>
                      <a:pt x="286804" y="26517"/>
                    </a:lnTo>
                    <a:lnTo>
                      <a:pt x="286804" y="128041"/>
                    </a:lnTo>
                    <a:lnTo>
                      <a:pt x="317868" y="128041"/>
                    </a:lnTo>
                    <a:lnTo>
                      <a:pt x="317868" y="26517"/>
                    </a:lnTo>
                    <a:close/>
                  </a:path>
                  <a:path w="577214" h="128904">
                    <a:moveTo>
                      <a:pt x="447893" y="50076"/>
                    </a:moveTo>
                    <a:lnTo>
                      <a:pt x="402844" y="50076"/>
                    </a:lnTo>
                    <a:lnTo>
                      <a:pt x="412985" y="52118"/>
                    </a:lnTo>
                    <a:lnTo>
                      <a:pt x="421255" y="57691"/>
                    </a:lnTo>
                    <a:lnTo>
                      <a:pt x="426825" y="65962"/>
                    </a:lnTo>
                    <a:lnTo>
                      <a:pt x="428866" y="76098"/>
                    </a:lnTo>
                    <a:lnTo>
                      <a:pt x="426825" y="86249"/>
                    </a:lnTo>
                    <a:lnTo>
                      <a:pt x="421255" y="94527"/>
                    </a:lnTo>
                    <a:lnTo>
                      <a:pt x="412985" y="100103"/>
                    </a:lnTo>
                    <a:lnTo>
                      <a:pt x="402844" y="102146"/>
                    </a:lnTo>
                    <a:lnTo>
                      <a:pt x="447883" y="102146"/>
                    </a:lnTo>
                    <a:lnTo>
                      <a:pt x="451757" y="96479"/>
                    </a:lnTo>
                    <a:lnTo>
                      <a:pt x="455930" y="76098"/>
                    </a:lnTo>
                    <a:lnTo>
                      <a:pt x="451757" y="55727"/>
                    </a:lnTo>
                    <a:lnTo>
                      <a:pt x="447893" y="50076"/>
                    </a:lnTo>
                    <a:close/>
                  </a:path>
                  <a:path w="577214" h="128904">
                    <a:moveTo>
                      <a:pt x="352031" y="0"/>
                    </a:moveTo>
                    <a:lnTo>
                      <a:pt x="255536" y="0"/>
                    </a:lnTo>
                    <a:lnTo>
                      <a:pt x="255536" y="26517"/>
                    </a:lnTo>
                    <a:lnTo>
                      <a:pt x="343077" y="26517"/>
                    </a:lnTo>
                    <a:lnTo>
                      <a:pt x="352031" y="0"/>
                    </a:lnTo>
                    <a:close/>
                  </a:path>
                  <a:path w="577214" h="128904">
                    <a:moveTo>
                      <a:pt x="505193" y="0"/>
                    </a:moveTo>
                    <a:lnTo>
                      <a:pt x="474954" y="0"/>
                    </a:lnTo>
                    <a:lnTo>
                      <a:pt x="474751" y="127965"/>
                    </a:lnTo>
                    <a:lnTo>
                      <a:pt x="505307" y="127965"/>
                    </a:lnTo>
                    <a:lnTo>
                      <a:pt x="505307" y="94627"/>
                    </a:lnTo>
                    <a:lnTo>
                      <a:pt x="514870" y="85991"/>
                    </a:lnTo>
                    <a:lnTo>
                      <a:pt x="547733" y="85991"/>
                    </a:lnTo>
                    <a:lnTo>
                      <a:pt x="534200" y="66649"/>
                    </a:lnTo>
                    <a:lnTo>
                      <a:pt x="540801" y="60045"/>
                    </a:lnTo>
                    <a:lnTo>
                      <a:pt x="505193" y="60045"/>
                    </a:lnTo>
                    <a:lnTo>
                      <a:pt x="505193" y="0"/>
                    </a:lnTo>
                    <a:close/>
                  </a:path>
                  <a:path w="577214" h="128904">
                    <a:moveTo>
                      <a:pt x="547733" y="85991"/>
                    </a:moveTo>
                    <a:lnTo>
                      <a:pt x="514870" y="85991"/>
                    </a:lnTo>
                    <a:lnTo>
                      <a:pt x="544487" y="127965"/>
                    </a:lnTo>
                    <a:lnTo>
                      <a:pt x="577100" y="127965"/>
                    </a:lnTo>
                    <a:lnTo>
                      <a:pt x="547733" y="85991"/>
                    </a:lnTo>
                    <a:close/>
                  </a:path>
                  <a:path w="577214" h="128904">
                    <a:moveTo>
                      <a:pt x="571449" y="29387"/>
                    </a:moveTo>
                    <a:lnTo>
                      <a:pt x="535851" y="29387"/>
                    </a:lnTo>
                    <a:lnTo>
                      <a:pt x="505193" y="60045"/>
                    </a:lnTo>
                    <a:lnTo>
                      <a:pt x="540801" y="60045"/>
                    </a:lnTo>
                    <a:lnTo>
                      <a:pt x="571449" y="29387"/>
                    </a:lnTo>
                    <a:close/>
                  </a:path>
                  <a:path w="577214" h="128904">
                    <a:moveTo>
                      <a:pt x="176009" y="0"/>
                    </a:moveTo>
                    <a:lnTo>
                      <a:pt x="145770" y="0"/>
                    </a:lnTo>
                    <a:lnTo>
                      <a:pt x="145669" y="127838"/>
                    </a:lnTo>
                    <a:lnTo>
                      <a:pt x="176212" y="127838"/>
                    </a:lnTo>
                    <a:lnTo>
                      <a:pt x="176212" y="94526"/>
                    </a:lnTo>
                    <a:lnTo>
                      <a:pt x="185686" y="85877"/>
                    </a:lnTo>
                    <a:lnTo>
                      <a:pt x="218545" y="85877"/>
                    </a:lnTo>
                    <a:lnTo>
                      <a:pt x="205016" y="66548"/>
                    </a:lnTo>
                    <a:lnTo>
                      <a:pt x="211534" y="60045"/>
                    </a:lnTo>
                    <a:lnTo>
                      <a:pt x="176009" y="60045"/>
                    </a:lnTo>
                    <a:lnTo>
                      <a:pt x="176009" y="0"/>
                    </a:lnTo>
                    <a:close/>
                  </a:path>
                  <a:path w="577214" h="128904">
                    <a:moveTo>
                      <a:pt x="218545" y="85877"/>
                    </a:moveTo>
                    <a:lnTo>
                      <a:pt x="185686" y="85877"/>
                    </a:lnTo>
                    <a:lnTo>
                      <a:pt x="215315" y="127838"/>
                    </a:lnTo>
                    <a:lnTo>
                      <a:pt x="247916" y="127838"/>
                    </a:lnTo>
                    <a:lnTo>
                      <a:pt x="218545" y="85877"/>
                    </a:lnTo>
                    <a:close/>
                  </a:path>
                  <a:path w="577214" h="128904">
                    <a:moveTo>
                      <a:pt x="242265" y="29387"/>
                    </a:moveTo>
                    <a:lnTo>
                      <a:pt x="206667" y="29387"/>
                    </a:lnTo>
                    <a:lnTo>
                      <a:pt x="176009" y="60045"/>
                    </a:lnTo>
                    <a:lnTo>
                      <a:pt x="211534" y="60045"/>
                    </a:lnTo>
                    <a:lnTo>
                      <a:pt x="242265" y="29387"/>
                    </a:lnTo>
                    <a:close/>
                  </a:path>
                  <a:path w="577214" h="128904">
                    <a:moveTo>
                      <a:pt x="132816" y="40728"/>
                    </a:moveTo>
                    <a:lnTo>
                      <a:pt x="102362" y="40728"/>
                    </a:lnTo>
                    <a:lnTo>
                      <a:pt x="102362" y="127965"/>
                    </a:lnTo>
                    <a:lnTo>
                      <a:pt x="132816" y="127965"/>
                    </a:lnTo>
                    <a:lnTo>
                      <a:pt x="132816" y="40728"/>
                    </a:lnTo>
                    <a:close/>
                  </a:path>
                  <a:path w="577214" h="128904">
                    <a:moveTo>
                      <a:pt x="125704" y="76"/>
                    </a:moveTo>
                    <a:lnTo>
                      <a:pt x="109042" y="76"/>
                    </a:lnTo>
                    <a:lnTo>
                      <a:pt x="102362" y="6769"/>
                    </a:lnTo>
                    <a:lnTo>
                      <a:pt x="102362" y="23444"/>
                    </a:lnTo>
                    <a:lnTo>
                      <a:pt x="109042" y="30137"/>
                    </a:lnTo>
                    <a:lnTo>
                      <a:pt x="125704" y="30137"/>
                    </a:lnTo>
                    <a:lnTo>
                      <a:pt x="132397" y="23444"/>
                    </a:lnTo>
                    <a:lnTo>
                      <a:pt x="132397" y="6769"/>
                    </a:lnTo>
                    <a:lnTo>
                      <a:pt x="125704" y="76"/>
                    </a:lnTo>
                    <a:close/>
                  </a:path>
                  <a:path w="577214" h="128904">
                    <a:moveTo>
                      <a:pt x="62230" y="26517"/>
                    </a:moveTo>
                    <a:lnTo>
                      <a:pt x="31267" y="26517"/>
                    </a:lnTo>
                    <a:lnTo>
                      <a:pt x="31267" y="128041"/>
                    </a:lnTo>
                    <a:lnTo>
                      <a:pt x="62230" y="128041"/>
                    </a:lnTo>
                    <a:lnTo>
                      <a:pt x="62230" y="26517"/>
                    </a:lnTo>
                    <a:close/>
                  </a:path>
                  <a:path w="577214" h="128904">
                    <a:moveTo>
                      <a:pt x="96393" y="0"/>
                    </a:moveTo>
                    <a:lnTo>
                      <a:pt x="0" y="0"/>
                    </a:lnTo>
                    <a:lnTo>
                      <a:pt x="0" y="26517"/>
                    </a:lnTo>
                    <a:lnTo>
                      <a:pt x="87439" y="26517"/>
                    </a:lnTo>
                    <a:lnTo>
                      <a:pt x="9639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F8EB67FE-E097-4894-A9D2-4FDB36581002}"/>
              </a:ext>
            </a:extLst>
          </p:cNvPr>
          <p:cNvGrpSpPr/>
          <p:nvPr/>
        </p:nvGrpSpPr>
        <p:grpSpPr>
          <a:xfrm>
            <a:off x="1219201" y="1367582"/>
            <a:ext cx="4371501" cy="2824901"/>
            <a:chOff x="498279" y="1255840"/>
            <a:chExt cx="5359400" cy="3463290"/>
          </a:xfrm>
        </p:grpSpPr>
        <p:sp>
          <p:nvSpPr>
            <p:cNvPr id="23" name="object 49">
              <a:extLst>
                <a:ext uri="{FF2B5EF4-FFF2-40B4-BE49-F238E27FC236}">
                  <a16:creationId xmlns:a16="http://schemas.microsoft.com/office/drawing/2014/main" id="{AC5DDC9E-2C5F-4BA6-B8EF-90C70222621B}"/>
                </a:ext>
              </a:extLst>
            </p:cNvPr>
            <p:cNvSpPr/>
            <p:nvPr/>
          </p:nvSpPr>
          <p:spPr>
            <a:xfrm>
              <a:off x="498279" y="1255840"/>
              <a:ext cx="5359400" cy="3463290"/>
            </a:xfrm>
            <a:custGeom>
              <a:avLst/>
              <a:gdLst/>
              <a:ahLst/>
              <a:cxnLst/>
              <a:rect l="l" t="t" r="r" b="b"/>
              <a:pathLst>
                <a:path w="5359400" h="3463290">
                  <a:moveTo>
                    <a:pt x="5359400" y="3463213"/>
                  </a:moveTo>
                  <a:lnTo>
                    <a:pt x="0" y="3463213"/>
                  </a:lnTo>
                  <a:lnTo>
                    <a:pt x="0" y="0"/>
                  </a:lnTo>
                  <a:lnTo>
                    <a:pt x="5359400" y="0"/>
                  </a:lnTo>
                  <a:lnTo>
                    <a:pt x="5359400" y="346321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50">
              <a:extLst>
                <a:ext uri="{FF2B5EF4-FFF2-40B4-BE49-F238E27FC236}">
                  <a16:creationId xmlns:a16="http://schemas.microsoft.com/office/drawing/2014/main" id="{9018993A-DDBD-4028-97DF-8BA3A89F05C7}"/>
                </a:ext>
              </a:extLst>
            </p:cNvPr>
            <p:cNvSpPr/>
            <p:nvPr/>
          </p:nvSpPr>
          <p:spPr>
            <a:xfrm>
              <a:off x="3911417" y="2042941"/>
              <a:ext cx="1860550" cy="0"/>
            </a:xfrm>
            <a:custGeom>
              <a:avLst/>
              <a:gdLst/>
              <a:ahLst/>
              <a:cxnLst/>
              <a:rect l="l" t="t" r="r" b="b"/>
              <a:pathLst>
                <a:path w="1860550">
                  <a:moveTo>
                    <a:pt x="0" y="0"/>
                  </a:moveTo>
                  <a:lnTo>
                    <a:pt x="1860397" y="0"/>
                  </a:lnTo>
                </a:path>
              </a:pathLst>
            </a:custGeom>
            <a:ln w="7150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51">
              <a:extLst>
                <a:ext uri="{FF2B5EF4-FFF2-40B4-BE49-F238E27FC236}">
                  <a16:creationId xmlns:a16="http://schemas.microsoft.com/office/drawing/2014/main" id="{8EB6CEAB-9C40-4D46-A095-3D14FBF53D65}"/>
                </a:ext>
              </a:extLst>
            </p:cNvPr>
            <p:cNvSpPr/>
            <p:nvPr/>
          </p:nvSpPr>
          <p:spPr>
            <a:xfrm>
              <a:off x="5560715" y="1377480"/>
              <a:ext cx="173240" cy="103759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52">
              <a:extLst>
                <a:ext uri="{FF2B5EF4-FFF2-40B4-BE49-F238E27FC236}">
                  <a16:creationId xmlns:a16="http://schemas.microsoft.com/office/drawing/2014/main" id="{4C2B6D5B-1FE2-43BE-B399-4D2FB8375B80}"/>
                </a:ext>
              </a:extLst>
            </p:cNvPr>
            <p:cNvSpPr/>
            <p:nvPr/>
          </p:nvSpPr>
          <p:spPr>
            <a:xfrm>
              <a:off x="5192224" y="1427575"/>
              <a:ext cx="329565" cy="0"/>
            </a:xfrm>
            <a:custGeom>
              <a:avLst/>
              <a:gdLst/>
              <a:ahLst/>
              <a:cxnLst/>
              <a:rect l="l" t="t" r="r" b="b"/>
              <a:pathLst>
                <a:path w="329564">
                  <a:moveTo>
                    <a:pt x="0" y="0"/>
                  </a:moveTo>
                  <a:lnTo>
                    <a:pt x="329145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53">
              <a:extLst>
                <a:ext uri="{FF2B5EF4-FFF2-40B4-BE49-F238E27FC236}">
                  <a16:creationId xmlns:a16="http://schemas.microsoft.com/office/drawing/2014/main" id="{BBEBD85C-F798-4E13-8FE4-49803B8F914F}"/>
                </a:ext>
              </a:extLst>
            </p:cNvPr>
            <p:cNvSpPr/>
            <p:nvPr/>
          </p:nvSpPr>
          <p:spPr>
            <a:xfrm>
              <a:off x="3911417" y="1416844"/>
              <a:ext cx="401320" cy="0"/>
            </a:xfrm>
            <a:custGeom>
              <a:avLst/>
              <a:gdLst/>
              <a:ahLst/>
              <a:cxnLst/>
              <a:rect l="l" t="t" r="r" b="b"/>
              <a:pathLst>
                <a:path w="401320">
                  <a:moveTo>
                    <a:pt x="0" y="0"/>
                  </a:moveTo>
                  <a:lnTo>
                    <a:pt x="400697" y="0"/>
                  </a:lnTo>
                </a:path>
              </a:pathLst>
            </a:custGeom>
            <a:ln w="64401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54">
              <a:extLst>
                <a:ext uri="{FF2B5EF4-FFF2-40B4-BE49-F238E27FC236}">
                  <a16:creationId xmlns:a16="http://schemas.microsoft.com/office/drawing/2014/main" id="{3F9C7689-8C3A-47A6-BC79-8742C0F10B49}"/>
                </a:ext>
              </a:extLst>
            </p:cNvPr>
            <p:cNvSpPr/>
            <p:nvPr/>
          </p:nvSpPr>
          <p:spPr>
            <a:xfrm>
              <a:off x="3916763" y="1498384"/>
              <a:ext cx="772795" cy="466725"/>
            </a:xfrm>
            <a:custGeom>
              <a:avLst/>
              <a:gdLst/>
              <a:ahLst/>
              <a:cxnLst/>
              <a:rect l="l" t="t" r="r" b="b"/>
              <a:pathLst>
                <a:path w="772795" h="466725">
                  <a:moveTo>
                    <a:pt x="772795" y="466153"/>
                  </a:moveTo>
                  <a:lnTo>
                    <a:pt x="0" y="466153"/>
                  </a:lnTo>
                  <a:lnTo>
                    <a:pt x="0" y="0"/>
                  </a:lnTo>
                  <a:lnTo>
                    <a:pt x="772795" y="0"/>
                  </a:lnTo>
                  <a:lnTo>
                    <a:pt x="772795" y="466153"/>
                  </a:lnTo>
                  <a:close/>
                </a:path>
              </a:pathLst>
            </a:custGeom>
            <a:solidFill>
              <a:srgbClr val="2B2C3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55">
              <a:extLst>
                <a:ext uri="{FF2B5EF4-FFF2-40B4-BE49-F238E27FC236}">
                  <a16:creationId xmlns:a16="http://schemas.microsoft.com/office/drawing/2014/main" id="{E416B2D7-0D4A-48CB-9923-6A66FDA591E8}"/>
                </a:ext>
              </a:extLst>
            </p:cNvPr>
            <p:cNvSpPr/>
            <p:nvPr/>
          </p:nvSpPr>
          <p:spPr>
            <a:xfrm>
              <a:off x="4727125" y="1570686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56">
              <a:extLst>
                <a:ext uri="{FF2B5EF4-FFF2-40B4-BE49-F238E27FC236}">
                  <a16:creationId xmlns:a16="http://schemas.microsoft.com/office/drawing/2014/main" id="{A3DDC81C-70F3-4FC6-947C-98707FCFC380}"/>
                </a:ext>
              </a:extLst>
            </p:cNvPr>
            <p:cNvSpPr/>
            <p:nvPr/>
          </p:nvSpPr>
          <p:spPr>
            <a:xfrm>
              <a:off x="4727125" y="1642231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57">
              <a:extLst>
                <a:ext uri="{FF2B5EF4-FFF2-40B4-BE49-F238E27FC236}">
                  <a16:creationId xmlns:a16="http://schemas.microsoft.com/office/drawing/2014/main" id="{FF1EDEEA-BD54-4BE6-9053-B92A35089167}"/>
                </a:ext>
              </a:extLst>
            </p:cNvPr>
            <p:cNvSpPr/>
            <p:nvPr/>
          </p:nvSpPr>
          <p:spPr>
            <a:xfrm>
              <a:off x="4727137" y="1728102"/>
              <a:ext cx="172085" cy="0"/>
            </a:xfrm>
            <a:custGeom>
              <a:avLst/>
              <a:gdLst/>
              <a:ahLst/>
              <a:cxnLst/>
              <a:rect l="l" t="t" r="r" b="b"/>
              <a:pathLst>
                <a:path w="172085">
                  <a:moveTo>
                    <a:pt x="0" y="0"/>
                  </a:moveTo>
                  <a:lnTo>
                    <a:pt x="171716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58">
              <a:extLst>
                <a:ext uri="{FF2B5EF4-FFF2-40B4-BE49-F238E27FC236}">
                  <a16:creationId xmlns:a16="http://schemas.microsoft.com/office/drawing/2014/main" id="{269C21D2-D76A-4254-A72C-4ACEA4737ECB}"/>
                </a:ext>
              </a:extLst>
            </p:cNvPr>
            <p:cNvSpPr/>
            <p:nvPr/>
          </p:nvSpPr>
          <p:spPr>
            <a:xfrm>
              <a:off x="4727137" y="1813967"/>
              <a:ext cx="393700" cy="0"/>
            </a:xfrm>
            <a:custGeom>
              <a:avLst/>
              <a:gdLst/>
              <a:ahLst/>
              <a:cxnLst/>
              <a:rect l="l" t="t" r="r" b="b"/>
              <a:pathLst>
                <a:path w="393700">
                  <a:moveTo>
                    <a:pt x="0" y="0"/>
                  </a:moveTo>
                  <a:lnTo>
                    <a:pt x="393534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59">
              <a:extLst>
                <a:ext uri="{FF2B5EF4-FFF2-40B4-BE49-F238E27FC236}">
                  <a16:creationId xmlns:a16="http://schemas.microsoft.com/office/drawing/2014/main" id="{84EB6362-B674-4C7F-88C3-3DDF269F0BF5}"/>
                </a:ext>
              </a:extLst>
            </p:cNvPr>
            <p:cNvSpPr/>
            <p:nvPr/>
          </p:nvSpPr>
          <p:spPr>
            <a:xfrm>
              <a:off x="4206565" y="1634859"/>
              <a:ext cx="193205" cy="19317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60">
              <a:extLst>
                <a:ext uri="{FF2B5EF4-FFF2-40B4-BE49-F238E27FC236}">
                  <a16:creationId xmlns:a16="http://schemas.microsoft.com/office/drawing/2014/main" id="{22F3D405-B472-4275-8278-83A80E8C62F3}"/>
                </a:ext>
              </a:extLst>
            </p:cNvPr>
            <p:cNvSpPr/>
            <p:nvPr/>
          </p:nvSpPr>
          <p:spPr>
            <a:xfrm>
              <a:off x="3916763" y="2128050"/>
              <a:ext cx="772795" cy="466725"/>
            </a:xfrm>
            <a:custGeom>
              <a:avLst/>
              <a:gdLst/>
              <a:ahLst/>
              <a:cxnLst/>
              <a:rect l="l" t="t" r="r" b="b"/>
              <a:pathLst>
                <a:path w="772795" h="466725">
                  <a:moveTo>
                    <a:pt x="772795" y="466153"/>
                  </a:moveTo>
                  <a:lnTo>
                    <a:pt x="0" y="466153"/>
                  </a:lnTo>
                  <a:lnTo>
                    <a:pt x="0" y="0"/>
                  </a:lnTo>
                  <a:lnTo>
                    <a:pt x="772795" y="0"/>
                  </a:lnTo>
                  <a:lnTo>
                    <a:pt x="772795" y="466153"/>
                  </a:lnTo>
                  <a:close/>
                </a:path>
              </a:pathLst>
            </a:custGeom>
            <a:solidFill>
              <a:srgbClr val="2B2C3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61">
              <a:extLst>
                <a:ext uri="{FF2B5EF4-FFF2-40B4-BE49-F238E27FC236}">
                  <a16:creationId xmlns:a16="http://schemas.microsoft.com/office/drawing/2014/main" id="{E507379B-D2F5-4273-9549-79341A6DFC6F}"/>
                </a:ext>
              </a:extLst>
            </p:cNvPr>
            <p:cNvSpPr/>
            <p:nvPr/>
          </p:nvSpPr>
          <p:spPr>
            <a:xfrm>
              <a:off x="4727125" y="2200364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62">
              <a:extLst>
                <a:ext uri="{FF2B5EF4-FFF2-40B4-BE49-F238E27FC236}">
                  <a16:creationId xmlns:a16="http://schemas.microsoft.com/office/drawing/2014/main" id="{50C8072A-859A-4F96-B28C-B80C8E7D69B2}"/>
                </a:ext>
              </a:extLst>
            </p:cNvPr>
            <p:cNvSpPr/>
            <p:nvPr/>
          </p:nvSpPr>
          <p:spPr>
            <a:xfrm>
              <a:off x="4727125" y="2271903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63">
              <a:extLst>
                <a:ext uri="{FF2B5EF4-FFF2-40B4-BE49-F238E27FC236}">
                  <a16:creationId xmlns:a16="http://schemas.microsoft.com/office/drawing/2014/main" id="{75CB33D9-63A3-4F64-8DB0-263CE46805A5}"/>
                </a:ext>
              </a:extLst>
            </p:cNvPr>
            <p:cNvSpPr/>
            <p:nvPr/>
          </p:nvSpPr>
          <p:spPr>
            <a:xfrm>
              <a:off x="4727137" y="2357774"/>
              <a:ext cx="172085" cy="0"/>
            </a:xfrm>
            <a:custGeom>
              <a:avLst/>
              <a:gdLst/>
              <a:ahLst/>
              <a:cxnLst/>
              <a:rect l="l" t="t" r="r" b="b"/>
              <a:pathLst>
                <a:path w="172085">
                  <a:moveTo>
                    <a:pt x="0" y="0"/>
                  </a:moveTo>
                  <a:lnTo>
                    <a:pt x="171716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64">
              <a:extLst>
                <a:ext uri="{FF2B5EF4-FFF2-40B4-BE49-F238E27FC236}">
                  <a16:creationId xmlns:a16="http://schemas.microsoft.com/office/drawing/2014/main" id="{1BEEED4A-2EB3-4D97-8AFB-DE68D04963EC}"/>
                </a:ext>
              </a:extLst>
            </p:cNvPr>
            <p:cNvSpPr/>
            <p:nvPr/>
          </p:nvSpPr>
          <p:spPr>
            <a:xfrm>
              <a:off x="4727137" y="2443645"/>
              <a:ext cx="393700" cy="0"/>
            </a:xfrm>
            <a:custGeom>
              <a:avLst/>
              <a:gdLst/>
              <a:ahLst/>
              <a:cxnLst/>
              <a:rect l="l" t="t" r="r" b="b"/>
              <a:pathLst>
                <a:path w="393700">
                  <a:moveTo>
                    <a:pt x="0" y="0"/>
                  </a:moveTo>
                  <a:lnTo>
                    <a:pt x="393534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65">
              <a:extLst>
                <a:ext uri="{FF2B5EF4-FFF2-40B4-BE49-F238E27FC236}">
                  <a16:creationId xmlns:a16="http://schemas.microsoft.com/office/drawing/2014/main" id="{62F2721B-413D-42DD-A45C-A4EA49DE584C}"/>
                </a:ext>
              </a:extLst>
            </p:cNvPr>
            <p:cNvSpPr/>
            <p:nvPr/>
          </p:nvSpPr>
          <p:spPr>
            <a:xfrm>
              <a:off x="4206565" y="2264525"/>
              <a:ext cx="193205" cy="193192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66">
              <a:extLst>
                <a:ext uri="{FF2B5EF4-FFF2-40B4-BE49-F238E27FC236}">
                  <a16:creationId xmlns:a16="http://schemas.microsoft.com/office/drawing/2014/main" id="{27CD24C8-C6CC-4A84-A9AD-446323A76625}"/>
                </a:ext>
              </a:extLst>
            </p:cNvPr>
            <p:cNvSpPr/>
            <p:nvPr/>
          </p:nvSpPr>
          <p:spPr>
            <a:xfrm>
              <a:off x="3916763" y="2628926"/>
              <a:ext cx="772795" cy="466725"/>
            </a:xfrm>
            <a:custGeom>
              <a:avLst/>
              <a:gdLst/>
              <a:ahLst/>
              <a:cxnLst/>
              <a:rect l="l" t="t" r="r" b="b"/>
              <a:pathLst>
                <a:path w="772795" h="466725">
                  <a:moveTo>
                    <a:pt x="772795" y="466153"/>
                  </a:moveTo>
                  <a:lnTo>
                    <a:pt x="0" y="466153"/>
                  </a:lnTo>
                  <a:lnTo>
                    <a:pt x="0" y="0"/>
                  </a:lnTo>
                  <a:lnTo>
                    <a:pt x="772795" y="0"/>
                  </a:lnTo>
                  <a:lnTo>
                    <a:pt x="772795" y="466153"/>
                  </a:lnTo>
                  <a:close/>
                </a:path>
              </a:pathLst>
            </a:custGeom>
            <a:solidFill>
              <a:srgbClr val="2B2C3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67">
              <a:extLst>
                <a:ext uri="{FF2B5EF4-FFF2-40B4-BE49-F238E27FC236}">
                  <a16:creationId xmlns:a16="http://schemas.microsoft.com/office/drawing/2014/main" id="{A6C55597-B3F1-4C71-866B-9D892564EB06}"/>
                </a:ext>
              </a:extLst>
            </p:cNvPr>
            <p:cNvSpPr/>
            <p:nvPr/>
          </p:nvSpPr>
          <p:spPr>
            <a:xfrm>
              <a:off x="4727125" y="2701240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8">
              <a:extLst>
                <a:ext uri="{FF2B5EF4-FFF2-40B4-BE49-F238E27FC236}">
                  <a16:creationId xmlns:a16="http://schemas.microsoft.com/office/drawing/2014/main" id="{5BB38C38-C4B9-4C9A-868F-EC52B44526B2}"/>
                </a:ext>
              </a:extLst>
            </p:cNvPr>
            <p:cNvSpPr/>
            <p:nvPr/>
          </p:nvSpPr>
          <p:spPr>
            <a:xfrm>
              <a:off x="4727125" y="2772791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9">
              <a:extLst>
                <a:ext uri="{FF2B5EF4-FFF2-40B4-BE49-F238E27FC236}">
                  <a16:creationId xmlns:a16="http://schemas.microsoft.com/office/drawing/2014/main" id="{C1B9F819-537C-4AD7-AD3B-06E1870D1C2B}"/>
                </a:ext>
              </a:extLst>
            </p:cNvPr>
            <p:cNvSpPr/>
            <p:nvPr/>
          </p:nvSpPr>
          <p:spPr>
            <a:xfrm>
              <a:off x="4727137" y="2858663"/>
              <a:ext cx="172085" cy="0"/>
            </a:xfrm>
            <a:custGeom>
              <a:avLst/>
              <a:gdLst/>
              <a:ahLst/>
              <a:cxnLst/>
              <a:rect l="l" t="t" r="r" b="b"/>
              <a:pathLst>
                <a:path w="172085">
                  <a:moveTo>
                    <a:pt x="0" y="0"/>
                  </a:moveTo>
                  <a:lnTo>
                    <a:pt x="171716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70">
              <a:extLst>
                <a:ext uri="{FF2B5EF4-FFF2-40B4-BE49-F238E27FC236}">
                  <a16:creationId xmlns:a16="http://schemas.microsoft.com/office/drawing/2014/main" id="{B264FCF3-C790-4D2B-A399-F01F29CB264A}"/>
                </a:ext>
              </a:extLst>
            </p:cNvPr>
            <p:cNvSpPr/>
            <p:nvPr/>
          </p:nvSpPr>
          <p:spPr>
            <a:xfrm>
              <a:off x="4727137" y="2944521"/>
              <a:ext cx="393700" cy="0"/>
            </a:xfrm>
            <a:custGeom>
              <a:avLst/>
              <a:gdLst/>
              <a:ahLst/>
              <a:cxnLst/>
              <a:rect l="l" t="t" r="r" b="b"/>
              <a:pathLst>
                <a:path w="393700">
                  <a:moveTo>
                    <a:pt x="0" y="0"/>
                  </a:moveTo>
                  <a:lnTo>
                    <a:pt x="393534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71">
              <a:extLst>
                <a:ext uri="{FF2B5EF4-FFF2-40B4-BE49-F238E27FC236}">
                  <a16:creationId xmlns:a16="http://schemas.microsoft.com/office/drawing/2014/main" id="{A1F42A6A-6AFA-4A94-AF06-525E385FB10D}"/>
                </a:ext>
              </a:extLst>
            </p:cNvPr>
            <p:cNvSpPr/>
            <p:nvPr/>
          </p:nvSpPr>
          <p:spPr>
            <a:xfrm>
              <a:off x="4206565" y="2765413"/>
              <a:ext cx="193205" cy="193192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72">
              <a:extLst>
                <a:ext uri="{FF2B5EF4-FFF2-40B4-BE49-F238E27FC236}">
                  <a16:creationId xmlns:a16="http://schemas.microsoft.com/office/drawing/2014/main" id="{5B01240E-A8E5-4DDD-8AD6-D60F8182C604}"/>
                </a:ext>
              </a:extLst>
            </p:cNvPr>
            <p:cNvSpPr/>
            <p:nvPr/>
          </p:nvSpPr>
          <p:spPr>
            <a:xfrm>
              <a:off x="3916763" y="3136964"/>
              <a:ext cx="772795" cy="466725"/>
            </a:xfrm>
            <a:custGeom>
              <a:avLst/>
              <a:gdLst/>
              <a:ahLst/>
              <a:cxnLst/>
              <a:rect l="l" t="t" r="r" b="b"/>
              <a:pathLst>
                <a:path w="772795" h="466725">
                  <a:moveTo>
                    <a:pt x="772795" y="466153"/>
                  </a:moveTo>
                  <a:lnTo>
                    <a:pt x="0" y="466153"/>
                  </a:lnTo>
                  <a:lnTo>
                    <a:pt x="0" y="0"/>
                  </a:lnTo>
                  <a:lnTo>
                    <a:pt x="772795" y="0"/>
                  </a:lnTo>
                  <a:lnTo>
                    <a:pt x="772795" y="466153"/>
                  </a:lnTo>
                  <a:close/>
                </a:path>
              </a:pathLst>
            </a:custGeom>
            <a:solidFill>
              <a:srgbClr val="2B2C3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73">
              <a:extLst>
                <a:ext uri="{FF2B5EF4-FFF2-40B4-BE49-F238E27FC236}">
                  <a16:creationId xmlns:a16="http://schemas.microsoft.com/office/drawing/2014/main" id="{274C4A97-26D9-45B2-AE0E-76AB58CACD0D}"/>
                </a:ext>
              </a:extLst>
            </p:cNvPr>
            <p:cNvSpPr/>
            <p:nvPr/>
          </p:nvSpPr>
          <p:spPr>
            <a:xfrm>
              <a:off x="4727125" y="3209271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4">
              <a:extLst>
                <a:ext uri="{FF2B5EF4-FFF2-40B4-BE49-F238E27FC236}">
                  <a16:creationId xmlns:a16="http://schemas.microsoft.com/office/drawing/2014/main" id="{A4F7C899-7E14-44C7-BB5D-B08EC5879697}"/>
                </a:ext>
              </a:extLst>
            </p:cNvPr>
            <p:cNvSpPr/>
            <p:nvPr/>
          </p:nvSpPr>
          <p:spPr>
            <a:xfrm>
              <a:off x="4727125" y="3280823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7FD2695C-01D6-4174-8E00-A9CE11832C0F}"/>
                </a:ext>
              </a:extLst>
            </p:cNvPr>
            <p:cNvSpPr/>
            <p:nvPr/>
          </p:nvSpPr>
          <p:spPr>
            <a:xfrm>
              <a:off x="4727137" y="3366694"/>
              <a:ext cx="172085" cy="0"/>
            </a:xfrm>
            <a:custGeom>
              <a:avLst/>
              <a:gdLst/>
              <a:ahLst/>
              <a:cxnLst/>
              <a:rect l="l" t="t" r="r" b="b"/>
              <a:pathLst>
                <a:path w="172085">
                  <a:moveTo>
                    <a:pt x="0" y="0"/>
                  </a:moveTo>
                  <a:lnTo>
                    <a:pt x="171716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76">
              <a:extLst>
                <a:ext uri="{FF2B5EF4-FFF2-40B4-BE49-F238E27FC236}">
                  <a16:creationId xmlns:a16="http://schemas.microsoft.com/office/drawing/2014/main" id="{35DE3ADE-B877-4E33-8280-7DB0FC520150}"/>
                </a:ext>
              </a:extLst>
            </p:cNvPr>
            <p:cNvSpPr/>
            <p:nvPr/>
          </p:nvSpPr>
          <p:spPr>
            <a:xfrm>
              <a:off x="4727137" y="3452553"/>
              <a:ext cx="393700" cy="0"/>
            </a:xfrm>
            <a:custGeom>
              <a:avLst/>
              <a:gdLst/>
              <a:ahLst/>
              <a:cxnLst/>
              <a:rect l="l" t="t" r="r" b="b"/>
              <a:pathLst>
                <a:path w="393700">
                  <a:moveTo>
                    <a:pt x="0" y="0"/>
                  </a:moveTo>
                  <a:lnTo>
                    <a:pt x="393534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9" name="object 77">
              <a:extLst>
                <a:ext uri="{FF2B5EF4-FFF2-40B4-BE49-F238E27FC236}">
                  <a16:creationId xmlns:a16="http://schemas.microsoft.com/office/drawing/2014/main" id="{E09D888D-1599-427C-816A-1821BF723A3A}"/>
                </a:ext>
              </a:extLst>
            </p:cNvPr>
            <p:cNvSpPr/>
            <p:nvPr/>
          </p:nvSpPr>
          <p:spPr>
            <a:xfrm>
              <a:off x="4206565" y="3273451"/>
              <a:ext cx="193205" cy="19317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78">
              <a:extLst>
                <a:ext uri="{FF2B5EF4-FFF2-40B4-BE49-F238E27FC236}">
                  <a16:creationId xmlns:a16="http://schemas.microsoft.com/office/drawing/2014/main" id="{A74289AD-1850-4FE8-8916-A9400EF4A2B0}"/>
                </a:ext>
              </a:extLst>
            </p:cNvPr>
            <p:cNvSpPr/>
            <p:nvPr/>
          </p:nvSpPr>
          <p:spPr>
            <a:xfrm>
              <a:off x="3916763" y="3645002"/>
              <a:ext cx="772795" cy="466725"/>
            </a:xfrm>
            <a:custGeom>
              <a:avLst/>
              <a:gdLst/>
              <a:ahLst/>
              <a:cxnLst/>
              <a:rect l="l" t="t" r="r" b="b"/>
              <a:pathLst>
                <a:path w="772795" h="466725">
                  <a:moveTo>
                    <a:pt x="772795" y="466140"/>
                  </a:moveTo>
                  <a:lnTo>
                    <a:pt x="0" y="466140"/>
                  </a:lnTo>
                  <a:lnTo>
                    <a:pt x="0" y="0"/>
                  </a:lnTo>
                  <a:lnTo>
                    <a:pt x="772795" y="0"/>
                  </a:lnTo>
                  <a:lnTo>
                    <a:pt x="772795" y="466140"/>
                  </a:lnTo>
                  <a:close/>
                </a:path>
              </a:pathLst>
            </a:custGeom>
            <a:solidFill>
              <a:srgbClr val="2B2C3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3" name="object 79">
              <a:extLst>
                <a:ext uri="{FF2B5EF4-FFF2-40B4-BE49-F238E27FC236}">
                  <a16:creationId xmlns:a16="http://schemas.microsoft.com/office/drawing/2014/main" id="{D2CDBDDC-FB34-4D95-A151-C186382CDBEC}"/>
                </a:ext>
              </a:extLst>
            </p:cNvPr>
            <p:cNvSpPr/>
            <p:nvPr/>
          </p:nvSpPr>
          <p:spPr>
            <a:xfrm>
              <a:off x="4727125" y="3717303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5" name="object 80">
              <a:extLst>
                <a:ext uri="{FF2B5EF4-FFF2-40B4-BE49-F238E27FC236}">
                  <a16:creationId xmlns:a16="http://schemas.microsoft.com/office/drawing/2014/main" id="{87B9BB90-8A04-4CBC-A16C-37233F0CF83C}"/>
                </a:ext>
              </a:extLst>
            </p:cNvPr>
            <p:cNvSpPr/>
            <p:nvPr/>
          </p:nvSpPr>
          <p:spPr>
            <a:xfrm>
              <a:off x="4727125" y="3788861"/>
              <a:ext cx="866140" cy="0"/>
            </a:xfrm>
            <a:custGeom>
              <a:avLst/>
              <a:gdLst/>
              <a:ahLst/>
              <a:cxnLst/>
              <a:rect l="l" t="t" r="r" b="b"/>
              <a:pathLst>
                <a:path w="866139">
                  <a:moveTo>
                    <a:pt x="0" y="0"/>
                  </a:moveTo>
                  <a:lnTo>
                    <a:pt x="865797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7" name="object 81">
              <a:extLst>
                <a:ext uri="{FF2B5EF4-FFF2-40B4-BE49-F238E27FC236}">
                  <a16:creationId xmlns:a16="http://schemas.microsoft.com/office/drawing/2014/main" id="{4B205215-5429-4435-86B9-C0372DE3913B}"/>
                </a:ext>
              </a:extLst>
            </p:cNvPr>
            <p:cNvSpPr/>
            <p:nvPr/>
          </p:nvSpPr>
          <p:spPr>
            <a:xfrm>
              <a:off x="4727137" y="3874713"/>
              <a:ext cx="172085" cy="0"/>
            </a:xfrm>
            <a:custGeom>
              <a:avLst/>
              <a:gdLst/>
              <a:ahLst/>
              <a:cxnLst/>
              <a:rect l="l" t="t" r="r" b="b"/>
              <a:pathLst>
                <a:path w="172085">
                  <a:moveTo>
                    <a:pt x="0" y="0"/>
                  </a:moveTo>
                  <a:lnTo>
                    <a:pt x="171716" y="0"/>
                  </a:lnTo>
                </a:path>
              </a:pathLst>
            </a:custGeom>
            <a:ln w="429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9" name="object 82">
              <a:extLst>
                <a:ext uri="{FF2B5EF4-FFF2-40B4-BE49-F238E27FC236}">
                  <a16:creationId xmlns:a16="http://schemas.microsoft.com/office/drawing/2014/main" id="{BDC459DF-A8E0-42B7-9746-AF31AF57E643}"/>
                </a:ext>
              </a:extLst>
            </p:cNvPr>
            <p:cNvSpPr/>
            <p:nvPr/>
          </p:nvSpPr>
          <p:spPr>
            <a:xfrm>
              <a:off x="4727137" y="3960584"/>
              <a:ext cx="393700" cy="0"/>
            </a:xfrm>
            <a:custGeom>
              <a:avLst/>
              <a:gdLst/>
              <a:ahLst/>
              <a:cxnLst/>
              <a:rect l="l" t="t" r="r" b="b"/>
              <a:pathLst>
                <a:path w="393700">
                  <a:moveTo>
                    <a:pt x="0" y="0"/>
                  </a:moveTo>
                  <a:lnTo>
                    <a:pt x="393534" y="0"/>
                  </a:lnTo>
                </a:path>
              </a:pathLst>
            </a:custGeom>
            <a:ln w="42925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1" name="object 83">
              <a:extLst>
                <a:ext uri="{FF2B5EF4-FFF2-40B4-BE49-F238E27FC236}">
                  <a16:creationId xmlns:a16="http://schemas.microsoft.com/office/drawing/2014/main" id="{86763E82-F038-4E1B-9908-33D702F221BE}"/>
                </a:ext>
              </a:extLst>
            </p:cNvPr>
            <p:cNvSpPr/>
            <p:nvPr/>
          </p:nvSpPr>
          <p:spPr>
            <a:xfrm>
              <a:off x="4206565" y="3781489"/>
              <a:ext cx="193205" cy="19317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3" name="object 84">
              <a:extLst>
                <a:ext uri="{FF2B5EF4-FFF2-40B4-BE49-F238E27FC236}">
                  <a16:creationId xmlns:a16="http://schemas.microsoft.com/office/drawing/2014/main" id="{1A326B11-F522-4103-9FEF-90FD54FAA086}"/>
                </a:ext>
              </a:extLst>
            </p:cNvPr>
            <p:cNvSpPr/>
            <p:nvPr/>
          </p:nvSpPr>
          <p:spPr>
            <a:xfrm>
              <a:off x="612757" y="3316605"/>
              <a:ext cx="2132330" cy="0"/>
            </a:xfrm>
            <a:custGeom>
              <a:avLst/>
              <a:gdLst/>
              <a:ahLst/>
              <a:cxnLst/>
              <a:rect l="l" t="t" r="r" b="b"/>
              <a:pathLst>
                <a:path w="2132329">
                  <a:moveTo>
                    <a:pt x="0" y="0"/>
                  </a:moveTo>
                  <a:lnTo>
                    <a:pt x="2132317" y="0"/>
                  </a:lnTo>
                </a:path>
              </a:pathLst>
            </a:custGeom>
            <a:ln w="57251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5" name="object 85">
              <a:extLst>
                <a:ext uri="{FF2B5EF4-FFF2-40B4-BE49-F238E27FC236}">
                  <a16:creationId xmlns:a16="http://schemas.microsoft.com/office/drawing/2014/main" id="{752C9FA3-CA6C-4156-9E88-F6E3FC023C99}"/>
                </a:ext>
              </a:extLst>
            </p:cNvPr>
            <p:cNvSpPr/>
            <p:nvPr/>
          </p:nvSpPr>
          <p:spPr>
            <a:xfrm>
              <a:off x="612769" y="3459709"/>
              <a:ext cx="651510" cy="0"/>
            </a:xfrm>
            <a:custGeom>
              <a:avLst/>
              <a:gdLst/>
              <a:ahLst/>
              <a:cxnLst/>
              <a:rect l="l" t="t" r="r" b="b"/>
              <a:pathLst>
                <a:path w="651510">
                  <a:moveTo>
                    <a:pt x="0" y="0"/>
                  </a:moveTo>
                  <a:lnTo>
                    <a:pt x="651141" y="0"/>
                  </a:lnTo>
                </a:path>
              </a:pathLst>
            </a:custGeom>
            <a:ln w="57251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7" name="object 86">
              <a:extLst>
                <a:ext uri="{FF2B5EF4-FFF2-40B4-BE49-F238E27FC236}">
                  <a16:creationId xmlns:a16="http://schemas.microsoft.com/office/drawing/2014/main" id="{7A0626E4-8F83-4D55-8826-B551E70497F5}"/>
                </a:ext>
              </a:extLst>
            </p:cNvPr>
            <p:cNvSpPr/>
            <p:nvPr/>
          </p:nvSpPr>
          <p:spPr>
            <a:xfrm>
              <a:off x="605607" y="3584937"/>
              <a:ext cx="3191510" cy="0"/>
            </a:xfrm>
            <a:custGeom>
              <a:avLst/>
              <a:gdLst/>
              <a:ahLst/>
              <a:cxnLst/>
              <a:rect l="l" t="t" r="r" b="b"/>
              <a:pathLst>
                <a:path w="3191510">
                  <a:moveTo>
                    <a:pt x="0" y="0"/>
                  </a:moveTo>
                  <a:lnTo>
                    <a:pt x="3191306" y="0"/>
                  </a:lnTo>
                </a:path>
              </a:pathLst>
            </a:custGeom>
            <a:ln w="7150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9" name="object 87">
              <a:extLst>
                <a:ext uri="{FF2B5EF4-FFF2-40B4-BE49-F238E27FC236}">
                  <a16:creationId xmlns:a16="http://schemas.microsoft.com/office/drawing/2014/main" id="{86B49C85-78B3-4B27-B8F7-0D4CBA530D69}"/>
                </a:ext>
              </a:extLst>
            </p:cNvPr>
            <p:cNvSpPr/>
            <p:nvPr/>
          </p:nvSpPr>
          <p:spPr>
            <a:xfrm>
              <a:off x="906139" y="3745922"/>
              <a:ext cx="286385" cy="0"/>
            </a:xfrm>
            <a:custGeom>
              <a:avLst/>
              <a:gdLst/>
              <a:ahLst/>
              <a:cxnLst/>
              <a:rect l="l" t="t" r="r" b="b"/>
              <a:pathLst>
                <a:path w="286385">
                  <a:moveTo>
                    <a:pt x="0" y="0"/>
                  </a:moveTo>
                  <a:lnTo>
                    <a:pt x="286219" y="0"/>
                  </a:lnTo>
                </a:path>
              </a:pathLst>
            </a:custGeom>
            <a:ln w="572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1" name="object 88">
              <a:extLst>
                <a:ext uri="{FF2B5EF4-FFF2-40B4-BE49-F238E27FC236}">
                  <a16:creationId xmlns:a16="http://schemas.microsoft.com/office/drawing/2014/main" id="{CDB1C8BB-2F3B-4404-B072-9F13C1A7FAE4}"/>
                </a:ext>
              </a:extLst>
            </p:cNvPr>
            <p:cNvSpPr/>
            <p:nvPr/>
          </p:nvSpPr>
          <p:spPr>
            <a:xfrm>
              <a:off x="906139" y="3838950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052" y="0"/>
                  </a:lnTo>
                </a:path>
              </a:pathLst>
            </a:custGeom>
            <a:ln w="572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3" name="object 89">
              <a:extLst>
                <a:ext uri="{FF2B5EF4-FFF2-40B4-BE49-F238E27FC236}">
                  <a16:creationId xmlns:a16="http://schemas.microsoft.com/office/drawing/2014/main" id="{11054820-5F1B-4989-B224-4F511514FB1B}"/>
                </a:ext>
              </a:extLst>
            </p:cNvPr>
            <p:cNvSpPr/>
            <p:nvPr/>
          </p:nvSpPr>
          <p:spPr>
            <a:xfrm>
              <a:off x="906139" y="4003523"/>
              <a:ext cx="1481455" cy="0"/>
            </a:xfrm>
            <a:custGeom>
              <a:avLst/>
              <a:gdLst/>
              <a:ahLst/>
              <a:cxnLst/>
              <a:rect l="l" t="t" r="r" b="b"/>
              <a:pathLst>
                <a:path w="1481455">
                  <a:moveTo>
                    <a:pt x="0" y="0"/>
                  </a:moveTo>
                  <a:lnTo>
                    <a:pt x="1481162" y="0"/>
                  </a:lnTo>
                </a:path>
              </a:pathLst>
            </a:custGeom>
            <a:ln w="57251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5" name="object 90">
              <a:extLst>
                <a:ext uri="{FF2B5EF4-FFF2-40B4-BE49-F238E27FC236}">
                  <a16:creationId xmlns:a16="http://schemas.microsoft.com/office/drawing/2014/main" id="{B603380F-111B-496D-888D-1B5A8B351538}"/>
                </a:ext>
              </a:extLst>
            </p:cNvPr>
            <p:cNvSpPr/>
            <p:nvPr/>
          </p:nvSpPr>
          <p:spPr>
            <a:xfrm>
              <a:off x="906139" y="4096544"/>
              <a:ext cx="1481455" cy="0"/>
            </a:xfrm>
            <a:custGeom>
              <a:avLst/>
              <a:gdLst/>
              <a:ahLst/>
              <a:cxnLst/>
              <a:rect l="l" t="t" r="r" b="b"/>
              <a:pathLst>
                <a:path w="1481455">
                  <a:moveTo>
                    <a:pt x="0" y="0"/>
                  </a:moveTo>
                  <a:lnTo>
                    <a:pt x="1481162" y="0"/>
                  </a:lnTo>
                </a:path>
              </a:pathLst>
            </a:custGeom>
            <a:ln w="57238">
              <a:solidFill>
                <a:srgbClr val="E3E3E3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7" name="object 91">
              <a:extLst>
                <a:ext uri="{FF2B5EF4-FFF2-40B4-BE49-F238E27FC236}">
                  <a16:creationId xmlns:a16="http://schemas.microsoft.com/office/drawing/2014/main" id="{F77186E1-8262-4A96-97A6-F653952BF13A}"/>
                </a:ext>
              </a:extLst>
            </p:cNvPr>
            <p:cNvSpPr/>
            <p:nvPr/>
          </p:nvSpPr>
          <p:spPr>
            <a:xfrm>
              <a:off x="602038" y="3663646"/>
              <a:ext cx="228968" cy="228980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9" name="object 92">
              <a:extLst>
                <a:ext uri="{FF2B5EF4-FFF2-40B4-BE49-F238E27FC236}">
                  <a16:creationId xmlns:a16="http://schemas.microsoft.com/office/drawing/2014/main" id="{C7BB5765-B77D-486D-9F89-B791520DD31E}"/>
                </a:ext>
              </a:extLst>
            </p:cNvPr>
            <p:cNvSpPr/>
            <p:nvPr/>
          </p:nvSpPr>
          <p:spPr>
            <a:xfrm>
              <a:off x="3245949" y="3688690"/>
              <a:ext cx="537210" cy="186055"/>
            </a:xfrm>
            <a:custGeom>
              <a:avLst/>
              <a:gdLst/>
              <a:ahLst/>
              <a:cxnLst/>
              <a:rect l="l" t="t" r="r" b="b"/>
              <a:pathLst>
                <a:path w="537210" h="186054">
                  <a:moveTo>
                    <a:pt x="504748" y="0"/>
                  </a:moveTo>
                  <a:lnTo>
                    <a:pt x="31915" y="0"/>
                  </a:lnTo>
                  <a:lnTo>
                    <a:pt x="19491" y="2507"/>
                  </a:lnTo>
                  <a:lnTo>
                    <a:pt x="9347" y="9345"/>
                  </a:lnTo>
                  <a:lnTo>
                    <a:pt x="2507" y="19486"/>
                  </a:lnTo>
                  <a:lnTo>
                    <a:pt x="0" y="31902"/>
                  </a:lnTo>
                  <a:lnTo>
                    <a:pt x="0" y="154114"/>
                  </a:lnTo>
                  <a:lnTo>
                    <a:pt x="2507" y="166537"/>
                  </a:lnTo>
                  <a:lnTo>
                    <a:pt x="9347" y="176682"/>
                  </a:lnTo>
                  <a:lnTo>
                    <a:pt x="19491" y="183521"/>
                  </a:lnTo>
                  <a:lnTo>
                    <a:pt x="31915" y="186029"/>
                  </a:lnTo>
                  <a:lnTo>
                    <a:pt x="504748" y="186029"/>
                  </a:lnTo>
                  <a:lnTo>
                    <a:pt x="517172" y="183521"/>
                  </a:lnTo>
                  <a:lnTo>
                    <a:pt x="527316" y="176682"/>
                  </a:lnTo>
                  <a:lnTo>
                    <a:pt x="534156" y="166537"/>
                  </a:lnTo>
                  <a:lnTo>
                    <a:pt x="536663" y="154114"/>
                  </a:lnTo>
                  <a:lnTo>
                    <a:pt x="536663" y="31902"/>
                  </a:lnTo>
                  <a:lnTo>
                    <a:pt x="534156" y="19486"/>
                  </a:lnTo>
                  <a:lnTo>
                    <a:pt x="527316" y="9345"/>
                  </a:lnTo>
                  <a:lnTo>
                    <a:pt x="517172" y="2507"/>
                  </a:lnTo>
                  <a:lnTo>
                    <a:pt x="504748" y="0"/>
                  </a:lnTo>
                  <a:close/>
                </a:path>
              </a:pathLst>
            </a:custGeom>
            <a:solidFill>
              <a:srgbClr val="DA222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1" name="object 93">
              <a:extLst>
                <a:ext uri="{FF2B5EF4-FFF2-40B4-BE49-F238E27FC236}">
                  <a16:creationId xmlns:a16="http://schemas.microsoft.com/office/drawing/2014/main" id="{1F12E137-CCE6-41AB-8B51-1F4A69DA47A7}"/>
                </a:ext>
              </a:extLst>
            </p:cNvPr>
            <p:cNvSpPr/>
            <p:nvPr/>
          </p:nvSpPr>
          <p:spPr>
            <a:xfrm>
              <a:off x="3289955" y="3765804"/>
              <a:ext cx="23495" cy="40005"/>
            </a:xfrm>
            <a:custGeom>
              <a:avLst/>
              <a:gdLst/>
              <a:ahLst/>
              <a:cxnLst/>
              <a:rect l="l" t="t" r="r" b="b"/>
              <a:pathLst>
                <a:path w="23495" h="40004">
                  <a:moveTo>
                    <a:pt x="1257" y="33083"/>
                  </a:moveTo>
                  <a:lnTo>
                    <a:pt x="0" y="37274"/>
                  </a:lnTo>
                  <a:lnTo>
                    <a:pt x="2057" y="38633"/>
                  </a:lnTo>
                  <a:lnTo>
                    <a:pt x="6121" y="39725"/>
                  </a:lnTo>
                  <a:lnTo>
                    <a:pt x="18922" y="39725"/>
                  </a:lnTo>
                  <a:lnTo>
                    <a:pt x="22429" y="35610"/>
                  </a:lnTo>
                  <a:lnTo>
                    <a:pt x="6743" y="35610"/>
                  </a:lnTo>
                  <a:lnTo>
                    <a:pt x="3492" y="34467"/>
                  </a:lnTo>
                  <a:lnTo>
                    <a:pt x="1257" y="33083"/>
                  </a:lnTo>
                  <a:close/>
                </a:path>
                <a:path w="23495" h="40004">
                  <a:moveTo>
                    <a:pt x="17208" y="0"/>
                  </a:moveTo>
                  <a:lnTo>
                    <a:pt x="5765" y="0"/>
                  </a:lnTo>
                  <a:lnTo>
                    <a:pt x="800" y="4457"/>
                  </a:lnTo>
                  <a:lnTo>
                    <a:pt x="800" y="15887"/>
                  </a:lnTo>
                  <a:lnTo>
                    <a:pt x="4698" y="19138"/>
                  </a:lnTo>
                  <a:lnTo>
                    <a:pt x="10985" y="21374"/>
                  </a:lnTo>
                  <a:lnTo>
                    <a:pt x="16179" y="23380"/>
                  </a:lnTo>
                  <a:lnTo>
                    <a:pt x="18237" y="25438"/>
                  </a:lnTo>
                  <a:lnTo>
                    <a:pt x="18237" y="32931"/>
                  </a:lnTo>
                  <a:lnTo>
                    <a:pt x="15265" y="35610"/>
                  </a:lnTo>
                  <a:lnTo>
                    <a:pt x="22429" y="35610"/>
                  </a:lnTo>
                  <a:lnTo>
                    <a:pt x="23317" y="34569"/>
                  </a:lnTo>
                  <a:lnTo>
                    <a:pt x="23317" y="22987"/>
                  </a:lnTo>
                  <a:lnTo>
                    <a:pt x="20015" y="19837"/>
                  </a:lnTo>
                  <a:lnTo>
                    <a:pt x="8178" y="15252"/>
                  </a:lnTo>
                  <a:lnTo>
                    <a:pt x="5829" y="13487"/>
                  </a:lnTo>
                  <a:lnTo>
                    <a:pt x="5829" y="7264"/>
                  </a:lnTo>
                  <a:lnTo>
                    <a:pt x="7835" y="4114"/>
                  </a:lnTo>
                  <a:lnTo>
                    <a:pt x="21026" y="4114"/>
                  </a:lnTo>
                  <a:lnTo>
                    <a:pt x="21780" y="1879"/>
                  </a:lnTo>
                  <a:lnTo>
                    <a:pt x="20053" y="914"/>
                  </a:lnTo>
                  <a:lnTo>
                    <a:pt x="17208" y="0"/>
                  </a:lnTo>
                  <a:close/>
                </a:path>
                <a:path w="23495" h="40004">
                  <a:moveTo>
                    <a:pt x="21026" y="4114"/>
                  </a:moveTo>
                  <a:lnTo>
                    <a:pt x="16573" y="4114"/>
                  </a:lnTo>
                  <a:lnTo>
                    <a:pt x="19151" y="5257"/>
                  </a:lnTo>
                  <a:lnTo>
                    <a:pt x="20408" y="5943"/>
                  </a:lnTo>
                  <a:lnTo>
                    <a:pt x="21026" y="411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3" name="object 94">
              <a:extLst>
                <a:ext uri="{FF2B5EF4-FFF2-40B4-BE49-F238E27FC236}">
                  <a16:creationId xmlns:a16="http://schemas.microsoft.com/office/drawing/2014/main" id="{4F455693-63B5-4C77-82B7-EBA6F027F282}"/>
                </a:ext>
              </a:extLst>
            </p:cNvPr>
            <p:cNvSpPr/>
            <p:nvPr/>
          </p:nvSpPr>
          <p:spPr>
            <a:xfrm>
              <a:off x="3317069" y="3766426"/>
              <a:ext cx="28575" cy="39370"/>
            </a:xfrm>
            <a:custGeom>
              <a:avLst/>
              <a:gdLst/>
              <a:ahLst/>
              <a:cxnLst/>
              <a:rect l="l" t="t" r="r" b="b"/>
              <a:pathLst>
                <a:path w="28575" h="39370">
                  <a:moveTo>
                    <a:pt x="5029" y="0"/>
                  </a:moveTo>
                  <a:lnTo>
                    <a:pt x="0" y="0"/>
                  </a:lnTo>
                  <a:lnTo>
                    <a:pt x="0" y="34658"/>
                  </a:lnTo>
                  <a:lnTo>
                    <a:pt x="5943" y="39166"/>
                  </a:lnTo>
                  <a:lnTo>
                    <a:pt x="22186" y="39166"/>
                  </a:lnTo>
                  <a:lnTo>
                    <a:pt x="27396" y="35102"/>
                  </a:lnTo>
                  <a:lnTo>
                    <a:pt x="8864" y="35102"/>
                  </a:lnTo>
                  <a:lnTo>
                    <a:pt x="5029" y="31457"/>
                  </a:lnTo>
                  <a:lnTo>
                    <a:pt x="5029" y="0"/>
                  </a:lnTo>
                  <a:close/>
                </a:path>
                <a:path w="28575" h="39370">
                  <a:moveTo>
                    <a:pt x="28422" y="0"/>
                  </a:moveTo>
                  <a:lnTo>
                    <a:pt x="23380" y="0"/>
                  </a:lnTo>
                  <a:lnTo>
                    <a:pt x="23257" y="31457"/>
                  </a:lnTo>
                  <a:lnTo>
                    <a:pt x="19723" y="35102"/>
                  </a:lnTo>
                  <a:lnTo>
                    <a:pt x="27396" y="35102"/>
                  </a:lnTo>
                  <a:lnTo>
                    <a:pt x="28422" y="34302"/>
                  </a:lnTo>
                  <a:lnTo>
                    <a:pt x="2842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5" name="object 95">
              <a:extLst>
                <a:ext uri="{FF2B5EF4-FFF2-40B4-BE49-F238E27FC236}">
                  <a16:creationId xmlns:a16="http://schemas.microsoft.com/office/drawing/2014/main" id="{BF028B00-5584-4C19-8FBB-7EDF898771C3}"/>
                </a:ext>
              </a:extLst>
            </p:cNvPr>
            <p:cNvSpPr/>
            <p:nvPr/>
          </p:nvSpPr>
          <p:spPr>
            <a:xfrm>
              <a:off x="3351194" y="3766147"/>
              <a:ext cx="24765" cy="39370"/>
            </a:xfrm>
            <a:custGeom>
              <a:avLst/>
              <a:gdLst/>
              <a:ahLst/>
              <a:cxnLst/>
              <a:rect l="l" t="t" r="r" b="b"/>
              <a:pathLst>
                <a:path w="24764" h="39370">
                  <a:moveTo>
                    <a:pt x="14071" y="0"/>
                  </a:moveTo>
                  <a:lnTo>
                    <a:pt x="5613" y="0"/>
                  </a:lnTo>
                  <a:lnTo>
                    <a:pt x="2171" y="355"/>
                  </a:lnTo>
                  <a:lnTo>
                    <a:pt x="0" y="800"/>
                  </a:lnTo>
                  <a:lnTo>
                    <a:pt x="0" y="38696"/>
                  </a:lnTo>
                  <a:lnTo>
                    <a:pt x="1663" y="38925"/>
                  </a:lnTo>
                  <a:lnTo>
                    <a:pt x="4292" y="39166"/>
                  </a:lnTo>
                  <a:lnTo>
                    <a:pt x="14020" y="39166"/>
                  </a:lnTo>
                  <a:lnTo>
                    <a:pt x="18364" y="37998"/>
                  </a:lnTo>
                  <a:lnTo>
                    <a:pt x="21330" y="35280"/>
                  </a:lnTo>
                  <a:lnTo>
                    <a:pt x="7378" y="35280"/>
                  </a:lnTo>
                  <a:lnTo>
                    <a:pt x="5956" y="35229"/>
                  </a:lnTo>
                  <a:lnTo>
                    <a:pt x="4978" y="35051"/>
                  </a:lnTo>
                  <a:lnTo>
                    <a:pt x="4978" y="20345"/>
                  </a:lnTo>
                  <a:lnTo>
                    <a:pt x="21784" y="20345"/>
                  </a:lnTo>
                  <a:lnTo>
                    <a:pt x="20027" y="19100"/>
                  </a:lnTo>
                  <a:lnTo>
                    <a:pt x="16357" y="18186"/>
                  </a:lnTo>
                  <a:lnTo>
                    <a:pt x="16357" y="18059"/>
                  </a:lnTo>
                  <a:lnTo>
                    <a:pt x="20421" y="16573"/>
                  </a:lnTo>
                  <a:lnTo>
                    <a:pt x="4978" y="16573"/>
                  </a:lnTo>
                  <a:lnTo>
                    <a:pt x="4978" y="4165"/>
                  </a:lnTo>
                  <a:lnTo>
                    <a:pt x="5778" y="4000"/>
                  </a:lnTo>
                  <a:lnTo>
                    <a:pt x="7099" y="3822"/>
                  </a:lnTo>
                  <a:lnTo>
                    <a:pt x="21035" y="3822"/>
                  </a:lnTo>
                  <a:lnTo>
                    <a:pt x="19672" y="2806"/>
                  </a:lnTo>
                  <a:lnTo>
                    <a:pt x="17271" y="850"/>
                  </a:lnTo>
                  <a:lnTo>
                    <a:pt x="14071" y="0"/>
                  </a:lnTo>
                  <a:close/>
                </a:path>
                <a:path w="24764" h="39370">
                  <a:moveTo>
                    <a:pt x="21784" y="20345"/>
                  </a:moveTo>
                  <a:lnTo>
                    <a:pt x="14528" y="20345"/>
                  </a:lnTo>
                  <a:lnTo>
                    <a:pt x="19037" y="22529"/>
                  </a:lnTo>
                  <a:lnTo>
                    <a:pt x="19037" y="33388"/>
                  </a:lnTo>
                  <a:lnTo>
                    <a:pt x="14300" y="35280"/>
                  </a:lnTo>
                  <a:lnTo>
                    <a:pt x="21330" y="35280"/>
                  </a:lnTo>
                  <a:lnTo>
                    <a:pt x="22986" y="33667"/>
                  </a:lnTo>
                  <a:lnTo>
                    <a:pt x="24295" y="31153"/>
                  </a:lnTo>
                  <a:lnTo>
                    <a:pt x="24295" y="22123"/>
                  </a:lnTo>
                  <a:lnTo>
                    <a:pt x="21784" y="20345"/>
                  </a:lnTo>
                  <a:close/>
                </a:path>
                <a:path w="24764" h="39370">
                  <a:moveTo>
                    <a:pt x="21035" y="3822"/>
                  </a:moveTo>
                  <a:lnTo>
                    <a:pt x="14414" y="3822"/>
                  </a:lnTo>
                  <a:lnTo>
                    <a:pt x="17843" y="5613"/>
                  </a:lnTo>
                  <a:lnTo>
                    <a:pt x="17843" y="13842"/>
                  </a:lnTo>
                  <a:lnTo>
                    <a:pt x="14770" y="16573"/>
                  </a:lnTo>
                  <a:lnTo>
                    <a:pt x="20421" y="16573"/>
                  </a:lnTo>
                  <a:lnTo>
                    <a:pt x="22872" y="13322"/>
                  </a:lnTo>
                  <a:lnTo>
                    <a:pt x="22872" y="6578"/>
                  </a:lnTo>
                  <a:lnTo>
                    <a:pt x="21666" y="4292"/>
                  </a:lnTo>
                  <a:lnTo>
                    <a:pt x="21035" y="38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7" name="object 96">
              <a:extLst>
                <a:ext uri="{FF2B5EF4-FFF2-40B4-BE49-F238E27FC236}">
                  <a16:creationId xmlns:a16="http://schemas.microsoft.com/office/drawing/2014/main" id="{4C879BDA-8616-404A-B91D-69969549D158}"/>
                </a:ext>
              </a:extLst>
            </p:cNvPr>
            <p:cNvSpPr/>
            <p:nvPr/>
          </p:nvSpPr>
          <p:spPr>
            <a:xfrm>
              <a:off x="3377306" y="3765804"/>
              <a:ext cx="23495" cy="40005"/>
            </a:xfrm>
            <a:custGeom>
              <a:avLst/>
              <a:gdLst/>
              <a:ahLst/>
              <a:cxnLst/>
              <a:rect l="l" t="t" r="r" b="b"/>
              <a:pathLst>
                <a:path w="23495" h="40004">
                  <a:moveTo>
                    <a:pt x="1257" y="33083"/>
                  </a:moveTo>
                  <a:lnTo>
                    <a:pt x="0" y="37274"/>
                  </a:lnTo>
                  <a:lnTo>
                    <a:pt x="2057" y="38633"/>
                  </a:lnTo>
                  <a:lnTo>
                    <a:pt x="6121" y="39725"/>
                  </a:lnTo>
                  <a:lnTo>
                    <a:pt x="18922" y="39725"/>
                  </a:lnTo>
                  <a:lnTo>
                    <a:pt x="22429" y="35610"/>
                  </a:lnTo>
                  <a:lnTo>
                    <a:pt x="6756" y="35610"/>
                  </a:lnTo>
                  <a:lnTo>
                    <a:pt x="3492" y="34467"/>
                  </a:lnTo>
                  <a:lnTo>
                    <a:pt x="1257" y="33083"/>
                  </a:lnTo>
                  <a:close/>
                </a:path>
                <a:path w="23495" h="40004">
                  <a:moveTo>
                    <a:pt x="17208" y="0"/>
                  </a:moveTo>
                  <a:lnTo>
                    <a:pt x="5765" y="0"/>
                  </a:lnTo>
                  <a:lnTo>
                    <a:pt x="800" y="4457"/>
                  </a:lnTo>
                  <a:lnTo>
                    <a:pt x="800" y="15887"/>
                  </a:lnTo>
                  <a:lnTo>
                    <a:pt x="4698" y="19138"/>
                  </a:lnTo>
                  <a:lnTo>
                    <a:pt x="10985" y="21374"/>
                  </a:lnTo>
                  <a:lnTo>
                    <a:pt x="16179" y="23380"/>
                  </a:lnTo>
                  <a:lnTo>
                    <a:pt x="18237" y="25438"/>
                  </a:lnTo>
                  <a:lnTo>
                    <a:pt x="18237" y="32931"/>
                  </a:lnTo>
                  <a:lnTo>
                    <a:pt x="15265" y="35610"/>
                  </a:lnTo>
                  <a:lnTo>
                    <a:pt x="22429" y="35610"/>
                  </a:lnTo>
                  <a:lnTo>
                    <a:pt x="23317" y="34569"/>
                  </a:lnTo>
                  <a:lnTo>
                    <a:pt x="23317" y="22987"/>
                  </a:lnTo>
                  <a:lnTo>
                    <a:pt x="20015" y="19837"/>
                  </a:lnTo>
                  <a:lnTo>
                    <a:pt x="8178" y="15252"/>
                  </a:lnTo>
                  <a:lnTo>
                    <a:pt x="5829" y="13487"/>
                  </a:lnTo>
                  <a:lnTo>
                    <a:pt x="5829" y="7264"/>
                  </a:lnTo>
                  <a:lnTo>
                    <a:pt x="7835" y="4114"/>
                  </a:lnTo>
                  <a:lnTo>
                    <a:pt x="21026" y="4114"/>
                  </a:lnTo>
                  <a:lnTo>
                    <a:pt x="21780" y="1879"/>
                  </a:lnTo>
                  <a:lnTo>
                    <a:pt x="20053" y="914"/>
                  </a:lnTo>
                  <a:lnTo>
                    <a:pt x="17208" y="0"/>
                  </a:lnTo>
                  <a:close/>
                </a:path>
                <a:path w="23495" h="40004">
                  <a:moveTo>
                    <a:pt x="21026" y="4114"/>
                  </a:moveTo>
                  <a:lnTo>
                    <a:pt x="16573" y="4114"/>
                  </a:lnTo>
                  <a:lnTo>
                    <a:pt x="19151" y="5257"/>
                  </a:lnTo>
                  <a:lnTo>
                    <a:pt x="20408" y="5943"/>
                  </a:lnTo>
                  <a:lnTo>
                    <a:pt x="21026" y="411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9" name="object 97">
              <a:extLst>
                <a:ext uri="{FF2B5EF4-FFF2-40B4-BE49-F238E27FC236}">
                  <a16:creationId xmlns:a16="http://schemas.microsoft.com/office/drawing/2014/main" id="{AB8C3A0B-2B50-499F-BEFD-C04F518D2EF7}"/>
                </a:ext>
              </a:extLst>
            </p:cNvPr>
            <p:cNvSpPr/>
            <p:nvPr/>
          </p:nvSpPr>
          <p:spPr>
            <a:xfrm>
              <a:off x="3402210" y="3765804"/>
              <a:ext cx="29845" cy="40005"/>
            </a:xfrm>
            <a:custGeom>
              <a:avLst/>
              <a:gdLst/>
              <a:ahLst/>
              <a:cxnLst/>
              <a:rect l="l" t="t" r="r" b="b"/>
              <a:pathLst>
                <a:path w="29845" h="40004">
                  <a:moveTo>
                    <a:pt x="24930" y="0"/>
                  </a:moveTo>
                  <a:lnTo>
                    <a:pt x="20116" y="0"/>
                  </a:lnTo>
                  <a:lnTo>
                    <a:pt x="11937" y="1466"/>
                  </a:lnTo>
                  <a:lnTo>
                    <a:pt x="5581" y="5595"/>
                  </a:lnTo>
                  <a:lnTo>
                    <a:pt x="1464" y="11985"/>
                  </a:lnTo>
                  <a:lnTo>
                    <a:pt x="0" y="20231"/>
                  </a:lnTo>
                  <a:lnTo>
                    <a:pt x="1447" y="28610"/>
                  </a:lnTo>
                  <a:lnTo>
                    <a:pt x="5446" y="34723"/>
                  </a:lnTo>
                  <a:lnTo>
                    <a:pt x="11481" y="38467"/>
                  </a:lnTo>
                  <a:lnTo>
                    <a:pt x="19037" y="39738"/>
                  </a:lnTo>
                  <a:lnTo>
                    <a:pt x="23723" y="39738"/>
                  </a:lnTo>
                  <a:lnTo>
                    <a:pt x="27381" y="38811"/>
                  </a:lnTo>
                  <a:lnTo>
                    <a:pt x="29210" y="37896"/>
                  </a:lnTo>
                  <a:lnTo>
                    <a:pt x="28601" y="35559"/>
                  </a:lnTo>
                  <a:lnTo>
                    <a:pt x="10693" y="35559"/>
                  </a:lnTo>
                  <a:lnTo>
                    <a:pt x="5257" y="29489"/>
                  </a:lnTo>
                  <a:lnTo>
                    <a:pt x="5257" y="9944"/>
                  </a:lnTo>
                  <a:lnTo>
                    <a:pt x="11264" y="4165"/>
                  </a:lnTo>
                  <a:lnTo>
                    <a:pt x="28544" y="4165"/>
                  </a:lnTo>
                  <a:lnTo>
                    <a:pt x="29273" y="1701"/>
                  </a:lnTo>
                  <a:lnTo>
                    <a:pt x="27952" y="1041"/>
                  </a:lnTo>
                  <a:lnTo>
                    <a:pt x="24930" y="0"/>
                  </a:lnTo>
                  <a:close/>
                </a:path>
                <a:path w="29845" h="40004">
                  <a:moveTo>
                    <a:pt x="28181" y="33947"/>
                  </a:moveTo>
                  <a:lnTo>
                    <a:pt x="26187" y="34924"/>
                  </a:lnTo>
                  <a:lnTo>
                    <a:pt x="23101" y="35559"/>
                  </a:lnTo>
                  <a:lnTo>
                    <a:pt x="28601" y="35559"/>
                  </a:lnTo>
                  <a:lnTo>
                    <a:pt x="28181" y="33947"/>
                  </a:lnTo>
                  <a:close/>
                </a:path>
                <a:path w="29845" h="40004">
                  <a:moveTo>
                    <a:pt x="28544" y="4165"/>
                  </a:moveTo>
                  <a:lnTo>
                    <a:pt x="23495" y="4165"/>
                  </a:lnTo>
                  <a:lnTo>
                    <a:pt x="26187" y="4851"/>
                  </a:lnTo>
                  <a:lnTo>
                    <a:pt x="28067" y="5778"/>
                  </a:lnTo>
                  <a:lnTo>
                    <a:pt x="28544" y="416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1" name="object 98">
              <a:extLst>
                <a:ext uri="{FF2B5EF4-FFF2-40B4-BE49-F238E27FC236}">
                  <a16:creationId xmlns:a16="http://schemas.microsoft.com/office/drawing/2014/main" id="{5857AF25-0236-4B82-8132-6B3DB2B5CCBF}"/>
                </a:ext>
              </a:extLst>
            </p:cNvPr>
            <p:cNvSpPr/>
            <p:nvPr/>
          </p:nvSpPr>
          <p:spPr>
            <a:xfrm>
              <a:off x="3434697" y="3766160"/>
              <a:ext cx="25400" cy="39370"/>
            </a:xfrm>
            <a:custGeom>
              <a:avLst/>
              <a:gdLst/>
              <a:ahLst/>
              <a:cxnLst/>
              <a:rect l="l" t="t" r="r" b="b"/>
              <a:pathLst>
                <a:path w="25400" h="39370">
                  <a:moveTo>
                    <a:pt x="14871" y="0"/>
                  </a:moveTo>
                  <a:lnTo>
                    <a:pt x="6134" y="0"/>
                  </a:lnTo>
                  <a:lnTo>
                    <a:pt x="2527" y="266"/>
                  </a:lnTo>
                  <a:lnTo>
                    <a:pt x="0" y="787"/>
                  </a:lnTo>
                  <a:lnTo>
                    <a:pt x="0" y="38811"/>
                  </a:lnTo>
                  <a:lnTo>
                    <a:pt x="4978" y="38811"/>
                  </a:lnTo>
                  <a:lnTo>
                    <a:pt x="4978" y="22123"/>
                  </a:lnTo>
                  <a:lnTo>
                    <a:pt x="19868" y="22123"/>
                  </a:lnTo>
                  <a:lnTo>
                    <a:pt x="19456" y="21475"/>
                  </a:lnTo>
                  <a:lnTo>
                    <a:pt x="16471" y="20459"/>
                  </a:lnTo>
                  <a:lnTo>
                    <a:pt x="16471" y="20281"/>
                  </a:lnTo>
                  <a:lnTo>
                    <a:pt x="20535" y="18922"/>
                  </a:lnTo>
                  <a:lnTo>
                    <a:pt x="21077" y="18351"/>
                  </a:lnTo>
                  <a:lnTo>
                    <a:pt x="4978" y="18351"/>
                  </a:lnTo>
                  <a:lnTo>
                    <a:pt x="4978" y="4292"/>
                  </a:lnTo>
                  <a:lnTo>
                    <a:pt x="5778" y="4063"/>
                  </a:lnTo>
                  <a:lnTo>
                    <a:pt x="7492" y="3809"/>
                  </a:lnTo>
                  <a:lnTo>
                    <a:pt x="21454" y="3809"/>
                  </a:lnTo>
                  <a:lnTo>
                    <a:pt x="20700" y="3149"/>
                  </a:lnTo>
                  <a:lnTo>
                    <a:pt x="18300" y="965"/>
                  </a:lnTo>
                  <a:lnTo>
                    <a:pt x="14871" y="0"/>
                  </a:lnTo>
                  <a:close/>
                </a:path>
                <a:path w="25400" h="39370">
                  <a:moveTo>
                    <a:pt x="19868" y="22123"/>
                  </a:moveTo>
                  <a:lnTo>
                    <a:pt x="9664" y="22123"/>
                  </a:lnTo>
                  <a:lnTo>
                    <a:pt x="14185" y="22301"/>
                  </a:lnTo>
                  <a:lnTo>
                    <a:pt x="16243" y="24282"/>
                  </a:lnTo>
                  <a:lnTo>
                    <a:pt x="17398" y="29616"/>
                  </a:lnTo>
                  <a:lnTo>
                    <a:pt x="18465" y="34404"/>
                  </a:lnTo>
                  <a:lnTo>
                    <a:pt x="19329" y="37718"/>
                  </a:lnTo>
                  <a:lnTo>
                    <a:pt x="19964" y="38811"/>
                  </a:lnTo>
                  <a:lnTo>
                    <a:pt x="25107" y="38811"/>
                  </a:lnTo>
                  <a:lnTo>
                    <a:pt x="24295" y="37325"/>
                  </a:lnTo>
                  <a:lnTo>
                    <a:pt x="23393" y="33604"/>
                  </a:lnTo>
                  <a:lnTo>
                    <a:pt x="21208" y="24231"/>
                  </a:lnTo>
                  <a:lnTo>
                    <a:pt x="19868" y="22123"/>
                  </a:lnTo>
                  <a:close/>
                </a:path>
                <a:path w="25400" h="39370">
                  <a:moveTo>
                    <a:pt x="21454" y="3809"/>
                  </a:moveTo>
                  <a:lnTo>
                    <a:pt x="9905" y="3809"/>
                  </a:lnTo>
                  <a:lnTo>
                    <a:pt x="15163" y="3886"/>
                  </a:lnTo>
                  <a:lnTo>
                    <a:pt x="18757" y="6045"/>
                  </a:lnTo>
                  <a:lnTo>
                    <a:pt x="18757" y="15430"/>
                  </a:lnTo>
                  <a:lnTo>
                    <a:pt x="15379" y="18351"/>
                  </a:lnTo>
                  <a:lnTo>
                    <a:pt x="21077" y="18351"/>
                  </a:lnTo>
                  <a:lnTo>
                    <a:pt x="23736" y="15544"/>
                  </a:lnTo>
                  <a:lnTo>
                    <a:pt x="23736" y="7492"/>
                  </a:lnTo>
                  <a:lnTo>
                    <a:pt x="22656" y="4864"/>
                  </a:lnTo>
                  <a:lnTo>
                    <a:pt x="21454" y="380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3" name="object 99">
              <a:extLst>
                <a:ext uri="{FF2B5EF4-FFF2-40B4-BE49-F238E27FC236}">
                  <a16:creationId xmlns:a16="http://schemas.microsoft.com/office/drawing/2014/main" id="{576DCC69-A25E-4D87-A25E-91765EDD6360}"/>
                </a:ext>
              </a:extLst>
            </p:cNvPr>
            <p:cNvSpPr/>
            <p:nvPr/>
          </p:nvSpPr>
          <p:spPr>
            <a:xfrm>
              <a:off x="3462535" y="3766426"/>
              <a:ext cx="5080" cy="38735"/>
            </a:xfrm>
            <a:custGeom>
              <a:avLst/>
              <a:gdLst/>
              <a:ahLst/>
              <a:cxnLst/>
              <a:rect l="l" t="t" r="r" b="b"/>
              <a:pathLst>
                <a:path w="5079" h="38735">
                  <a:moveTo>
                    <a:pt x="4978" y="38544"/>
                  </a:moveTo>
                  <a:lnTo>
                    <a:pt x="0" y="38544"/>
                  </a:lnTo>
                  <a:lnTo>
                    <a:pt x="0" y="0"/>
                  </a:lnTo>
                  <a:lnTo>
                    <a:pt x="4978" y="0"/>
                  </a:lnTo>
                  <a:lnTo>
                    <a:pt x="4978" y="3854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5" name="object 100">
              <a:extLst>
                <a:ext uri="{FF2B5EF4-FFF2-40B4-BE49-F238E27FC236}">
                  <a16:creationId xmlns:a16="http://schemas.microsoft.com/office/drawing/2014/main" id="{A51366C5-BBAF-45D0-A0B2-3117FFB41F28}"/>
                </a:ext>
              </a:extLst>
            </p:cNvPr>
            <p:cNvSpPr/>
            <p:nvPr/>
          </p:nvSpPr>
          <p:spPr>
            <a:xfrm>
              <a:off x="3473228" y="3766147"/>
              <a:ext cx="24765" cy="39370"/>
            </a:xfrm>
            <a:custGeom>
              <a:avLst/>
              <a:gdLst/>
              <a:ahLst/>
              <a:cxnLst/>
              <a:rect l="l" t="t" r="r" b="b"/>
              <a:pathLst>
                <a:path w="24764" h="39370">
                  <a:moveTo>
                    <a:pt x="14071" y="0"/>
                  </a:moveTo>
                  <a:lnTo>
                    <a:pt x="5613" y="0"/>
                  </a:lnTo>
                  <a:lnTo>
                    <a:pt x="2171" y="355"/>
                  </a:lnTo>
                  <a:lnTo>
                    <a:pt x="0" y="800"/>
                  </a:lnTo>
                  <a:lnTo>
                    <a:pt x="0" y="38696"/>
                  </a:lnTo>
                  <a:lnTo>
                    <a:pt x="1663" y="38925"/>
                  </a:lnTo>
                  <a:lnTo>
                    <a:pt x="4292" y="39166"/>
                  </a:lnTo>
                  <a:lnTo>
                    <a:pt x="14020" y="39166"/>
                  </a:lnTo>
                  <a:lnTo>
                    <a:pt x="18364" y="37998"/>
                  </a:lnTo>
                  <a:lnTo>
                    <a:pt x="21330" y="35280"/>
                  </a:lnTo>
                  <a:lnTo>
                    <a:pt x="7378" y="35280"/>
                  </a:lnTo>
                  <a:lnTo>
                    <a:pt x="5956" y="35229"/>
                  </a:lnTo>
                  <a:lnTo>
                    <a:pt x="4978" y="35051"/>
                  </a:lnTo>
                  <a:lnTo>
                    <a:pt x="4978" y="20345"/>
                  </a:lnTo>
                  <a:lnTo>
                    <a:pt x="21784" y="20345"/>
                  </a:lnTo>
                  <a:lnTo>
                    <a:pt x="20027" y="19100"/>
                  </a:lnTo>
                  <a:lnTo>
                    <a:pt x="16357" y="18186"/>
                  </a:lnTo>
                  <a:lnTo>
                    <a:pt x="16357" y="18059"/>
                  </a:lnTo>
                  <a:lnTo>
                    <a:pt x="20421" y="16573"/>
                  </a:lnTo>
                  <a:lnTo>
                    <a:pt x="4978" y="16573"/>
                  </a:lnTo>
                  <a:lnTo>
                    <a:pt x="4978" y="4165"/>
                  </a:lnTo>
                  <a:lnTo>
                    <a:pt x="5778" y="4000"/>
                  </a:lnTo>
                  <a:lnTo>
                    <a:pt x="7099" y="3822"/>
                  </a:lnTo>
                  <a:lnTo>
                    <a:pt x="21035" y="3822"/>
                  </a:lnTo>
                  <a:lnTo>
                    <a:pt x="19672" y="2806"/>
                  </a:lnTo>
                  <a:lnTo>
                    <a:pt x="17271" y="850"/>
                  </a:lnTo>
                  <a:lnTo>
                    <a:pt x="14071" y="0"/>
                  </a:lnTo>
                  <a:close/>
                </a:path>
                <a:path w="24764" h="39370">
                  <a:moveTo>
                    <a:pt x="21784" y="20345"/>
                  </a:moveTo>
                  <a:lnTo>
                    <a:pt x="14528" y="20345"/>
                  </a:lnTo>
                  <a:lnTo>
                    <a:pt x="19037" y="22529"/>
                  </a:lnTo>
                  <a:lnTo>
                    <a:pt x="19037" y="33388"/>
                  </a:lnTo>
                  <a:lnTo>
                    <a:pt x="14300" y="35280"/>
                  </a:lnTo>
                  <a:lnTo>
                    <a:pt x="21330" y="35280"/>
                  </a:lnTo>
                  <a:lnTo>
                    <a:pt x="22986" y="33667"/>
                  </a:lnTo>
                  <a:lnTo>
                    <a:pt x="24295" y="31153"/>
                  </a:lnTo>
                  <a:lnTo>
                    <a:pt x="24295" y="22123"/>
                  </a:lnTo>
                  <a:lnTo>
                    <a:pt x="21784" y="20345"/>
                  </a:lnTo>
                  <a:close/>
                </a:path>
                <a:path w="24764" h="39370">
                  <a:moveTo>
                    <a:pt x="21035" y="3822"/>
                  </a:moveTo>
                  <a:lnTo>
                    <a:pt x="14414" y="3822"/>
                  </a:lnTo>
                  <a:lnTo>
                    <a:pt x="17843" y="5613"/>
                  </a:lnTo>
                  <a:lnTo>
                    <a:pt x="17843" y="13842"/>
                  </a:lnTo>
                  <a:lnTo>
                    <a:pt x="14770" y="16573"/>
                  </a:lnTo>
                  <a:lnTo>
                    <a:pt x="20421" y="16573"/>
                  </a:lnTo>
                  <a:lnTo>
                    <a:pt x="22872" y="13322"/>
                  </a:lnTo>
                  <a:lnTo>
                    <a:pt x="22872" y="6578"/>
                  </a:lnTo>
                  <a:lnTo>
                    <a:pt x="21666" y="4292"/>
                  </a:lnTo>
                  <a:lnTo>
                    <a:pt x="21035" y="38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7" name="object 101">
              <a:extLst>
                <a:ext uri="{FF2B5EF4-FFF2-40B4-BE49-F238E27FC236}">
                  <a16:creationId xmlns:a16="http://schemas.microsoft.com/office/drawing/2014/main" id="{5B2BC4A1-78FD-45E7-8E40-9835DC39A8F3}"/>
                </a:ext>
              </a:extLst>
            </p:cNvPr>
            <p:cNvSpPr/>
            <p:nvPr/>
          </p:nvSpPr>
          <p:spPr>
            <a:xfrm>
              <a:off x="3501283" y="3766426"/>
              <a:ext cx="22225" cy="38735"/>
            </a:xfrm>
            <a:custGeom>
              <a:avLst/>
              <a:gdLst/>
              <a:ahLst/>
              <a:cxnLst/>
              <a:rect l="l" t="t" r="r" b="b"/>
              <a:pathLst>
                <a:path w="22225" h="38735">
                  <a:moveTo>
                    <a:pt x="20802" y="0"/>
                  </a:moveTo>
                  <a:lnTo>
                    <a:pt x="0" y="0"/>
                  </a:lnTo>
                  <a:lnTo>
                    <a:pt x="0" y="38544"/>
                  </a:lnTo>
                  <a:lnTo>
                    <a:pt x="21666" y="38544"/>
                  </a:lnTo>
                  <a:lnTo>
                    <a:pt x="21666" y="34378"/>
                  </a:lnTo>
                  <a:lnTo>
                    <a:pt x="4965" y="34378"/>
                  </a:lnTo>
                  <a:lnTo>
                    <a:pt x="4965" y="20459"/>
                  </a:lnTo>
                  <a:lnTo>
                    <a:pt x="19951" y="20459"/>
                  </a:lnTo>
                  <a:lnTo>
                    <a:pt x="19951" y="16370"/>
                  </a:lnTo>
                  <a:lnTo>
                    <a:pt x="4965" y="16370"/>
                  </a:lnTo>
                  <a:lnTo>
                    <a:pt x="4965" y="4190"/>
                  </a:lnTo>
                  <a:lnTo>
                    <a:pt x="20802" y="4190"/>
                  </a:lnTo>
                  <a:lnTo>
                    <a:pt x="208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9" name="object 102">
              <a:extLst>
                <a:ext uri="{FF2B5EF4-FFF2-40B4-BE49-F238E27FC236}">
                  <a16:creationId xmlns:a16="http://schemas.microsoft.com/office/drawing/2014/main" id="{6EC454AE-6A51-448A-95FC-D5CFA0723D4A}"/>
                </a:ext>
              </a:extLst>
            </p:cNvPr>
            <p:cNvSpPr/>
            <p:nvPr/>
          </p:nvSpPr>
          <p:spPr>
            <a:xfrm>
              <a:off x="3546380" y="3767811"/>
              <a:ext cx="12700" cy="37465"/>
            </a:xfrm>
            <a:custGeom>
              <a:avLst/>
              <a:gdLst/>
              <a:ahLst/>
              <a:cxnLst/>
              <a:rect l="l" t="t" r="r" b="b"/>
              <a:pathLst>
                <a:path w="12700" h="37464">
                  <a:moveTo>
                    <a:pt x="12420" y="4686"/>
                  </a:moveTo>
                  <a:lnTo>
                    <a:pt x="7556" y="4686"/>
                  </a:lnTo>
                  <a:lnTo>
                    <a:pt x="7556" y="37160"/>
                  </a:lnTo>
                  <a:lnTo>
                    <a:pt x="12420" y="37160"/>
                  </a:lnTo>
                  <a:lnTo>
                    <a:pt x="12420" y="4686"/>
                  </a:lnTo>
                  <a:close/>
                </a:path>
                <a:path w="12700" h="37464">
                  <a:moveTo>
                    <a:pt x="12420" y="0"/>
                  </a:moveTo>
                  <a:lnTo>
                    <a:pt x="8128" y="0"/>
                  </a:lnTo>
                  <a:lnTo>
                    <a:pt x="0" y="4343"/>
                  </a:lnTo>
                  <a:lnTo>
                    <a:pt x="977" y="8153"/>
                  </a:lnTo>
                  <a:lnTo>
                    <a:pt x="7442" y="4686"/>
                  </a:lnTo>
                  <a:lnTo>
                    <a:pt x="12420" y="4686"/>
                  </a:lnTo>
                  <a:lnTo>
                    <a:pt x="124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1" name="object 103">
              <a:extLst>
                <a:ext uri="{FF2B5EF4-FFF2-40B4-BE49-F238E27FC236}">
                  <a16:creationId xmlns:a16="http://schemas.microsoft.com/office/drawing/2014/main" id="{6A37C6F3-D2B3-424C-B207-71C716091B3B}"/>
                </a:ext>
              </a:extLst>
            </p:cNvPr>
            <p:cNvSpPr/>
            <p:nvPr/>
          </p:nvSpPr>
          <p:spPr>
            <a:xfrm>
              <a:off x="3569177" y="3767163"/>
              <a:ext cx="25400" cy="38735"/>
            </a:xfrm>
            <a:custGeom>
              <a:avLst/>
              <a:gdLst/>
              <a:ahLst/>
              <a:cxnLst/>
              <a:rect l="l" t="t" r="r" b="b"/>
              <a:pathLst>
                <a:path w="25400" h="38735">
                  <a:moveTo>
                    <a:pt x="3136" y="34264"/>
                  </a:moveTo>
                  <a:lnTo>
                    <a:pt x="3136" y="38379"/>
                  </a:lnTo>
                  <a:lnTo>
                    <a:pt x="4343" y="38430"/>
                  </a:lnTo>
                  <a:lnTo>
                    <a:pt x="5943" y="38379"/>
                  </a:lnTo>
                  <a:lnTo>
                    <a:pt x="7785" y="38074"/>
                  </a:lnTo>
                  <a:lnTo>
                    <a:pt x="11785" y="37630"/>
                  </a:lnTo>
                  <a:lnTo>
                    <a:pt x="15735" y="35915"/>
                  </a:lnTo>
                  <a:lnTo>
                    <a:pt x="17334" y="34353"/>
                  </a:lnTo>
                  <a:lnTo>
                    <a:pt x="4229" y="34353"/>
                  </a:lnTo>
                  <a:lnTo>
                    <a:pt x="3136" y="34264"/>
                  </a:lnTo>
                  <a:close/>
                </a:path>
                <a:path w="25400" h="38735">
                  <a:moveTo>
                    <a:pt x="24980" y="20586"/>
                  </a:moveTo>
                  <a:lnTo>
                    <a:pt x="19900" y="20586"/>
                  </a:lnTo>
                  <a:lnTo>
                    <a:pt x="19215" y="25006"/>
                  </a:lnTo>
                  <a:lnTo>
                    <a:pt x="17437" y="28257"/>
                  </a:lnTo>
                  <a:lnTo>
                    <a:pt x="14985" y="30492"/>
                  </a:lnTo>
                  <a:lnTo>
                    <a:pt x="12865" y="32473"/>
                  </a:lnTo>
                  <a:lnTo>
                    <a:pt x="10121" y="33693"/>
                  </a:lnTo>
                  <a:lnTo>
                    <a:pt x="7213" y="34086"/>
                  </a:lnTo>
                  <a:lnTo>
                    <a:pt x="5486" y="34264"/>
                  </a:lnTo>
                  <a:lnTo>
                    <a:pt x="4229" y="34353"/>
                  </a:lnTo>
                  <a:lnTo>
                    <a:pt x="17334" y="34353"/>
                  </a:lnTo>
                  <a:lnTo>
                    <a:pt x="22237" y="29565"/>
                  </a:lnTo>
                  <a:lnTo>
                    <a:pt x="24980" y="23837"/>
                  </a:lnTo>
                  <a:lnTo>
                    <a:pt x="24980" y="20586"/>
                  </a:lnTo>
                  <a:close/>
                </a:path>
                <a:path w="25400" h="38735">
                  <a:moveTo>
                    <a:pt x="20294" y="0"/>
                  </a:moveTo>
                  <a:lnTo>
                    <a:pt x="5092" y="0"/>
                  </a:lnTo>
                  <a:lnTo>
                    <a:pt x="0" y="6184"/>
                  </a:lnTo>
                  <a:lnTo>
                    <a:pt x="0" y="19570"/>
                  </a:lnTo>
                  <a:lnTo>
                    <a:pt x="4292" y="24587"/>
                  </a:lnTo>
                  <a:lnTo>
                    <a:pt x="14706" y="24587"/>
                  </a:lnTo>
                  <a:lnTo>
                    <a:pt x="17665" y="23101"/>
                  </a:lnTo>
                  <a:lnTo>
                    <a:pt x="19577" y="20764"/>
                  </a:lnTo>
                  <a:lnTo>
                    <a:pt x="7785" y="20764"/>
                  </a:lnTo>
                  <a:lnTo>
                    <a:pt x="4978" y="17513"/>
                  </a:lnTo>
                  <a:lnTo>
                    <a:pt x="4978" y="7620"/>
                  </a:lnTo>
                  <a:lnTo>
                    <a:pt x="8000" y="3848"/>
                  </a:lnTo>
                  <a:lnTo>
                    <a:pt x="23210" y="3848"/>
                  </a:lnTo>
                  <a:lnTo>
                    <a:pt x="20294" y="0"/>
                  </a:lnTo>
                  <a:close/>
                </a:path>
                <a:path w="25400" h="38735">
                  <a:moveTo>
                    <a:pt x="23210" y="3848"/>
                  </a:moveTo>
                  <a:lnTo>
                    <a:pt x="17551" y="3848"/>
                  </a:lnTo>
                  <a:lnTo>
                    <a:pt x="19900" y="8712"/>
                  </a:lnTo>
                  <a:lnTo>
                    <a:pt x="19900" y="15849"/>
                  </a:lnTo>
                  <a:lnTo>
                    <a:pt x="19723" y="16421"/>
                  </a:lnTo>
                  <a:lnTo>
                    <a:pt x="18122" y="19100"/>
                  </a:lnTo>
                  <a:lnTo>
                    <a:pt x="15493" y="20764"/>
                  </a:lnTo>
                  <a:lnTo>
                    <a:pt x="19577" y="20764"/>
                  </a:lnTo>
                  <a:lnTo>
                    <a:pt x="19723" y="20586"/>
                  </a:lnTo>
                  <a:lnTo>
                    <a:pt x="24980" y="20586"/>
                  </a:lnTo>
                  <a:lnTo>
                    <a:pt x="24980" y="6184"/>
                  </a:lnTo>
                  <a:lnTo>
                    <a:pt x="23210" y="38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3" name="object 104">
              <a:extLst>
                <a:ext uri="{FF2B5EF4-FFF2-40B4-BE49-F238E27FC236}">
                  <a16:creationId xmlns:a16="http://schemas.microsoft.com/office/drawing/2014/main" id="{49432EBB-ADDF-48B6-9FE3-664AB146FFD8}"/>
                </a:ext>
              </a:extLst>
            </p:cNvPr>
            <p:cNvSpPr/>
            <p:nvPr/>
          </p:nvSpPr>
          <p:spPr>
            <a:xfrm>
              <a:off x="3595619" y="3767811"/>
              <a:ext cx="23495" cy="38100"/>
            </a:xfrm>
            <a:custGeom>
              <a:avLst/>
              <a:gdLst/>
              <a:ahLst/>
              <a:cxnLst/>
              <a:rect l="l" t="t" r="r" b="b"/>
              <a:pathLst>
                <a:path w="23495" h="38100">
                  <a:moveTo>
                    <a:pt x="1257" y="31673"/>
                  </a:moveTo>
                  <a:lnTo>
                    <a:pt x="0" y="35496"/>
                  </a:lnTo>
                  <a:lnTo>
                    <a:pt x="1765" y="36639"/>
                  </a:lnTo>
                  <a:lnTo>
                    <a:pt x="5194" y="37782"/>
                  </a:lnTo>
                  <a:lnTo>
                    <a:pt x="17322" y="37782"/>
                  </a:lnTo>
                  <a:lnTo>
                    <a:pt x="21656" y="33705"/>
                  </a:lnTo>
                  <a:lnTo>
                    <a:pt x="5829" y="33705"/>
                  </a:lnTo>
                  <a:lnTo>
                    <a:pt x="2793" y="32562"/>
                  </a:lnTo>
                  <a:lnTo>
                    <a:pt x="1257" y="31673"/>
                  </a:lnTo>
                  <a:close/>
                </a:path>
                <a:path w="23495" h="38100">
                  <a:moveTo>
                    <a:pt x="20879" y="17437"/>
                  </a:moveTo>
                  <a:lnTo>
                    <a:pt x="14744" y="17437"/>
                  </a:lnTo>
                  <a:lnTo>
                    <a:pt x="17945" y="20866"/>
                  </a:lnTo>
                  <a:lnTo>
                    <a:pt x="18008" y="30632"/>
                  </a:lnTo>
                  <a:lnTo>
                    <a:pt x="13944" y="33705"/>
                  </a:lnTo>
                  <a:lnTo>
                    <a:pt x="21656" y="33705"/>
                  </a:lnTo>
                  <a:lnTo>
                    <a:pt x="23101" y="32346"/>
                  </a:lnTo>
                  <a:lnTo>
                    <a:pt x="23101" y="20383"/>
                  </a:lnTo>
                  <a:lnTo>
                    <a:pt x="20879" y="17437"/>
                  </a:lnTo>
                  <a:close/>
                </a:path>
                <a:path w="23495" h="38100">
                  <a:moveTo>
                    <a:pt x="22351" y="0"/>
                  </a:moveTo>
                  <a:lnTo>
                    <a:pt x="4571" y="0"/>
                  </a:lnTo>
                  <a:lnTo>
                    <a:pt x="2171" y="17830"/>
                  </a:lnTo>
                  <a:lnTo>
                    <a:pt x="3543" y="17665"/>
                  </a:lnTo>
                  <a:lnTo>
                    <a:pt x="5194" y="17437"/>
                  </a:lnTo>
                  <a:lnTo>
                    <a:pt x="20879" y="17437"/>
                  </a:lnTo>
                  <a:lnTo>
                    <a:pt x="20688" y="17183"/>
                  </a:lnTo>
                  <a:lnTo>
                    <a:pt x="17779" y="15557"/>
                  </a:lnTo>
                  <a:lnTo>
                    <a:pt x="15493" y="14160"/>
                  </a:lnTo>
                  <a:lnTo>
                    <a:pt x="13678" y="13766"/>
                  </a:lnTo>
                  <a:lnTo>
                    <a:pt x="6743" y="13766"/>
                  </a:lnTo>
                  <a:lnTo>
                    <a:pt x="8178" y="4216"/>
                  </a:lnTo>
                  <a:lnTo>
                    <a:pt x="22351" y="4216"/>
                  </a:lnTo>
                  <a:lnTo>
                    <a:pt x="22351" y="0"/>
                  </a:lnTo>
                  <a:close/>
                </a:path>
                <a:path w="23495" h="38100">
                  <a:moveTo>
                    <a:pt x="12623" y="13538"/>
                  </a:moveTo>
                  <a:lnTo>
                    <a:pt x="8394" y="13538"/>
                  </a:lnTo>
                  <a:lnTo>
                    <a:pt x="7607" y="13665"/>
                  </a:lnTo>
                  <a:lnTo>
                    <a:pt x="6743" y="13766"/>
                  </a:lnTo>
                  <a:lnTo>
                    <a:pt x="13678" y="13766"/>
                  </a:lnTo>
                  <a:lnTo>
                    <a:pt x="12623" y="1353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5" name="object 105">
              <a:extLst>
                <a:ext uri="{FF2B5EF4-FFF2-40B4-BE49-F238E27FC236}">
                  <a16:creationId xmlns:a16="http://schemas.microsoft.com/office/drawing/2014/main" id="{F8C58179-8E4A-4102-900A-4DEB12E7AC10}"/>
                </a:ext>
              </a:extLst>
            </p:cNvPr>
            <p:cNvSpPr/>
            <p:nvPr/>
          </p:nvSpPr>
          <p:spPr>
            <a:xfrm>
              <a:off x="3633109" y="3766426"/>
              <a:ext cx="27305" cy="38735"/>
            </a:xfrm>
            <a:custGeom>
              <a:avLst/>
              <a:gdLst/>
              <a:ahLst/>
              <a:cxnLst/>
              <a:rect l="l" t="t" r="r" b="b"/>
              <a:pathLst>
                <a:path w="27304" h="38735">
                  <a:moveTo>
                    <a:pt x="4978" y="0"/>
                  </a:moveTo>
                  <a:lnTo>
                    <a:pt x="0" y="0"/>
                  </a:lnTo>
                  <a:lnTo>
                    <a:pt x="0" y="38544"/>
                  </a:lnTo>
                  <a:lnTo>
                    <a:pt x="4978" y="38544"/>
                  </a:lnTo>
                  <a:lnTo>
                    <a:pt x="4978" y="23837"/>
                  </a:lnTo>
                  <a:lnTo>
                    <a:pt x="8636" y="19621"/>
                  </a:lnTo>
                  <a:lnTo>
                    <a:pt x="14384" y="19621"/>
                  </a:lnTo>
                  <a:lnTo>
                    <a:pt x="13677" y="18580"/>
                  </a:lnTo>
                  <a:lnTo>
                    <a:pt x="4978" y="18580"/>
                  </a:lnTo>
                  <a:lnTo>
                    <a:pt x="4978" y="0"/>
                  </a:lnTo>
                  <a:close/>
                </a:path>
                <a:path w="27304" h="38735">
                  <a:moveTo>
                    <a:pt x="14384" y="19621"/>
                  </a:moveTo>
                  <a:lnTo>
                    <a:pt x="8636" y="19621"/>
                  </a:lnTo>
                  <a:lnTo>
                    <a:pt x="21336" y="38544"/>
                  </a:lnTo>
                  <a:lnTo>
                    <a:pt x="27216" y="38544"/>
                  </a:lnTo>
                  <a:lnTo>
                    <a:pt x="14384" y="19621"/>
                  </a:lnTo>
                  <a:close/>
                </a:path>
                <a:path w="27304" h="38735">
                  <a:moveTo>
                    <a:pt x="26136" y="0"/>
                  </a:moveTo>
                  <a:lnTo>
                    <a:pt x="19951" y="0"/>
                  </a:lnTo>
                  <a:lnTo>
                    <a:pt x="8178" y="14465"/>
                  </a:lnTo>
                  <a:lnTo>
                    <a:pt x="7200" y="15722"/>
                  </a:lnTo>
                  <a:lnTo>
                    <a:pt x="6172" y="17094"/>
                  </a:lnTo>
                  <a:lnTo>
                    <a:pt x="5143" y="18580"/>
                  </a:lnTo>
                  <a:lnTo>
                    <a:pt x="13677" y="18580"/>
                  </a:lnTo>
                  <a:lnTo>
                    <a:pt x="12179" y="16370"/>
                  </a:lnTo>
                  <a:lnTo>
                    <a:pt x="261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7" name="object 106">
              <a:extLst>
                <a:ext uri="{FF2B5EF4-FFF2-40B4-BE49-F238E27FC236}">
                  <a16:creationId xmlns:a16="http://schemas.microsoft.com/office/drawing/2014/main" id="{94694352-7503-4DCA-A8D0-4CB9EFBA8036}"/>
                </a:ext>
              </a:extLst>
            </p:cNvPr>
            <p:cNvSpPr/>
            <p:nvPr/>
          </p:nvSpPr>
          <p:spPr>
            <a:xfrm>
              <a:off x="2244199" y="3430169"/>
              <a:ext cx="102590" cy="84150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9" name="object 107">
              <a:extLst>
                <a:ext uri="{FF2B5EF4-FFF2-40B4-BE49-F238E27FC236}">
                  <a16:creationId xmlns:a16="http://schemas.microsoft.com/office/drawing/2014/main" id="{86FB588C-B82E-467B-99C5-3EEC74BFD2D5}"/>
                </a:ext>
              </a:extLst>
            </p:cNvPr>
            <p:cNvSpPr/>
            <p:nvPr/>
          </p:nvSpPr>
          <p:spPr>
            <a:xfrm>
              <a:off x="2606695" y="3430613"/>
              <a:ext cx="102603" cy="84162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1" name="object 108">
              <a:extLst>
                <a:ext uri="{FF2B5EF4-FFF2-40B4-BE49-F238E27FC236}">
                  <a16:creationId xmlns:a16="http://schemas.microsoft.com/office/drawing/2014/main" id="{2EF7DFA4-FE88-4848-8547-2A7FDC62FC69}"/>
                </a:ext>
              </a:extLst>
            </p:cNvPr>
            <p:cNvSpPr/>
            <p:nvPr/>
          </p:nvSpPr>
          <p:spPr>
            <a:xfrm>
              <a:off x="2924423" y="3440811"/>
              <a:ext cx="85750" cy="64439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3" name="object 109">
              <a:extLst>
                <a:ext uri="{FF2B5EF4-FFF2-40B4-BE49-F238E27FC236}">
                  <a16:creationId xmlns:a16="http://schemas.microsoft.com/office/drawing/2014/main" id="{181DA73B-B86E-4C61-BC4D-C0786EC96C47}"/>
                </a:ext>
              </a:extLst>
            </p:cNvPr>
            <p:cNvSpPr/>
            <p:nvPr/>
          </p:nvSpPr>
          <p:spPr>
            <a:xfrm>
              <a:off x="3306770" y="3439948"/>
              <a:ext cx="101053" cy="65062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5" name="object 110">
              <a:extLst>
                <a:ext uri="{FF2B5EF4-FFF2-40B4-BE49-F238E27FC236}">
                  <a16:creationId xmlns:a16="http://schemas.microsoft.com/office/drawing/2014/main" id="{EC9EE19D-A316-4E37-B5C5-8C3501B1FA0F}"/>
                </a:ext>
              </a:extLst>
            </p:cNvPr>
            <p:cNvSpPr/>
            <p:nvPr/>
          </p:nvSpPr>
          <p:spPr>
            <a:xfrm>
              <a:off x="3660973" y="3461728"/>
              <a:ext cx="21590" cy="21590"/>
            </a:xfrm>
            <a:custGeom>
              <a:avLst/>
              <a:gdLst/>
              <a:ahLst/>
              <a:cxnLst/>
              <a:rect l="l" t="t" r="r" b="b"/>
              <a:pathLst>
                <a:path w="21589" h="21589">
                  <a:moveTo>
                    <a:pt x="16649" y="0"/>
                  </a:moveTo>
                  <a:lnTo>
                    <a:pt x="4787" y="0"/>
                  </a:lnTo>
                  <a:lnTo>
                    <a:pt x="0" y="4813"/>
                  </a:lnTo>
                  <a:lnTo>
                    <a:pt x="0" y="16675"/>
                  </a:lnTo>
                  <a:lnTo>
                    <a:pt x="4787" y="21475"/>
                  </a:lnTo>
                  <a:lnTo>
                    <a:pt x="16649" y="21475"/>
                  </a:lnTo>
                  <a:lnTo>
                    <a:pt x="21450" y="16675"/>
                  </a:lnTo>
                  <a:lnTo>
                    <a:pt x="21450" y="4813"/>
                  </a:lnTo>
                  <a:lnTo>
                    <a:pt x="16649" y="0"/>
                  </a:lnTo>
                  <a:close/>
                </a:path>
              </a:pathLst>
            </a:custGeom>
            <a:solidFill>
              <a:srgbClr val="AFAF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7" name="object 111">
              <a:extLst>
                <a:ext uri="{FF2B5EF4-FFF2-40B4-BE49-F238E27FC236}">
                  <a16:creationId xmlns:a16="http://schemas.microsoft.com/office/drawing/2014/main" id="{B5F721FB-64B0-4FA8-BB31-2297E605AD3E}"/>
                </a:ext>
              </a:extLst>
            </p:cNvPr>
            <p:cNvSpPr/>
            <p:nvPr/>
          </p:nvSpPr>
          <p:spPr>
            <a:xfrm>
              <a:off x="3696748" y="3461728"/>
              <a:ext cx="21590" cy="21590"/>
            </a:xfrm>
            <a:custGeom>
              <a:avLst/>
              <a:gdLst/>
              <a:ahLst/>
              <a:cxnLst/>
              <a:rect l="l" t="t" r="r" b="b"/>
              <a:pathLst>
                <a:path w="21589" h="21589">
                  <a:moveTo>
                    <a:pt x="16662" y="0"/>
                  </a:moveTo>
                  <a:lnTo>
                    <a:pt x="4800" y="0"/>
                  </a:lnTo>
                  <a:lnTo>
                    <a:pt x="0" y="4813"/>
                  </a:lnTo>
                  <a:lnTo>
                    <a:pt x="0" y="16675"/>
                  </a:lnTo>
                  <a:lnTo>
                    <a:pt x="4800" y="21475"/>
                  </a:lnTo>
                  <a:lnTo>
                    <a:pt x="16662" y="21475"/>
                  </a:lnTo>
                  <a:lnTo>
                    <a:pt x="21462" y="16675"/>
                  </a:lnTo>
                  <a:lnTo>
                    <a:pt x="21462" y="4813"/>
                  </a:lnTo>
                  <a:lnTo>
                    <a:pt x="16662" y="0"/>
                  </a:lnTo>
                  <a:close/>
                </a:path>
              </a:pathLst>
            </a:custGeom>
            <a:solidFill>
              <a:srgbClr val="AFAF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9" name="object 112">
              <a:extLst>
                <a:ext uri="{FF2B5EF4-FFF2-40B4-BE49-F238E27FC236}">
                  <a16:creationId xmlns:a16="http://schemas.microsoft.com/office/drawing/2014/main" id="{38AD6AE6-E942-45E3-9C1F-C168AD8EF15C}"/>
                </a:ext>
              </a:extLst>
            </p:cNvPr>
            <p:cNvSpPr/>
            <p:nvPr/>
          </p:nvSpPr>
          <p:spPr>
            <a:xfrm>
              <a:off x="3732525" y="3461728"/>
              <a:ext cx="21590" cy="21590"/>
            </a:xfrm>
            <a:custGeom>
              <a:avLst/>
              <a:gdLst/>
              <a:ahLst/>
              <a:cxnLst/>
              <a:rect l="l" t="t" r="r" b="b"/>
              <a:pathLst>
                <a:path w="21589" h="21589">
                  <a:moveTo>
                    <a:pt x="16649" y="0"/>
                  </a:moveTo>
                  <a:lnTo>
                    <a:pt x="4800" y="0"/>
                  </a:lnTo>
                  <a:lnTo>
                    <a:pt x="0" y="4813"/>
                  </a:lnTo>
                  <a:lnTo>
                    <a:pt x="0" y="16675"/>
                  </a:lnTo>
                  <a:lnTo>
                    <a:pt x="4800" y="21475"/>
                  </a:lnTo>
                  <a:lnTo>
                    <a:pt x="16649" y="21475"/>
                  </a:lnTo>
                  <a:lnTo>
                    <a:pt x="21462" y="16675"/>
                  </a:lnTo>
                  <a:lnTo>
                    <a:pt x="21462" y="4813"/>
                  </a:lnTo>
                  <a:lnTo>
                    <a:pt x="16649" y="0"/>
                  </a:lnTo>
                  <a:close/>
                </a:path>
              </a:pathLst>
            </a:custGeom>
            <a:solidFill>
              <a:srgbClr val="AFAF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1" name="object 113">
              <a:extLst>
                <a:ext uri="{FF2B5EF4-FFF2-40B4-BE49-F238E27FC236}">
                  <a16:creationId xmlns:a16="http://schemas.microsoft.com/office/drawing/2014/main" id="{DE8ED750-069B-4806-B72D-B54264DE856A}"/>
                </a:ext>
              </a:extLst>
            </p:cNvPr>
            <p:cNvSpPr/>
            <p:nvPr/>
          </p:nvSpPr>
          <p:spPr>
            <a:xfrm>
              <a:off x="610979" y="1377607"/>
              <a:ext cx="3206115" cy="1788795"/>
            </a:xfrm>
            <a:custGeom>
              <a:avLst/>
              <a:gdLst/>
              <a:ahLst/>
              <a:cxnLst/>
              <a:rect l="l" t="t" r="r" b="b"/>
              <a:pathLst>
                <a:path w="3206115" h="1788795">
                  <a:moveTo>
                    <a:pt x="3205619" y="1788731"/>
                  </a:moveTo>
                  <a:lnTo>
                    <a:pt x="0" y="1788731"/>
                  </a:lnTo>
                  <a:lnTo>
                    <a:pt x="0" y="0"/>
                  </a:lnTo>
                  <a:lnTo>
                    <a:pt x="3205619" y="0"/>
                  </a:lnTo>
                  <a:lnTo>
                    <a:pt x="3205619" y="1788731"/>
                  </a:lnTo>
                  <a:close/>
                </a:path>
              </a:pathLst>
            </a:custGeom>
            <a:solidFill>
              <a:srgbClr val="2B2C3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3" name="object 114">
              <a:extLst>
                <a:ext uri="{FF2B5EF4-FFF2-40B4-BE49-F238E27FC236}">
                  <a16:creationId xmlns:a16="http://schemas.microsoft.com/office/drawing/2014/main" id="{B4F162A9-A998-4E84-8E69-7B25C955F128}"/>
                </a:ext>
              </a:extLst>
            </p:cNvPr>
            <p:cNvSpPr/>
            <p:nvPr/>
          </p:nvSpPr>
          <p:spPr>
            <a:xfrm>
              <a:off x="655708" y="2933783"/>
              <a:ext cx="3119755" cy="0"/>
            </a:xfrm>
            <a:custGeom>
              <a:avLst/>
              <a:gdLst/>
              <a:ahLst/>
              <a:cxnLst/>
              <a:rect l="l" t="t" r="r" b="b"/>
              <a:pathLst>
                <a:path w="3119754">
                  <a:moveTo>
                    <a:pt x="0" y="0"/>
                  </a:moveTo>
                  <a:lnTo>
                    <a:pt x="3119755" y="0"/>
                  </a:lnTo>
                </a:path>
              </a:pathLst>
            </a:custGeom>
            <a:ln w="50076">
              <a:solidFill>
                <a:srgbClr val="F0F0F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5" name="object 115">
              <a:extLst>
                <a:ext uri="{FF2B5EF4-FFF2-40B4-BE49-F238E27FC236}">
                  <a16:creationId xmlns:a16="http://schemas.microsoft.com/office/drawing/2014/main" id="{101B55AD-4D60-419B-88D5-52FE9ACAA03C}"/>
                </a:ext>
              </a:extLst>
            </p:cNvPr>
            <p:cNvSpPr/>
            <p:nvPr/>
          </p:nvSpPr>
          <p:spPr>
            <a:xfrm>
              <a:off x="655695" y="2933783"/>
              <a:ext cx="1774825" cy="0"/>
            </a:xfrm>
            <a:custGeom>
              <a:avLst/>
              <a:gdLst/>
              <a:ahLst/>
              <a:cxnLst/>
              <a:rect l="l" t="t" r="r" b="b"/>
              <a:pathLst>
                <a:path w="1774825">
                  <a:moveTo>
                    <a:pt x="0" y="0"/>
                  </a:moveTo>
                  <a:lnTo>
                    <a:pt x="1774545" y="0"/>
                  </a:lnTo>
                </a:path>
              </a:pathLst>
            </a:custGeom>
            <a:ln w="50076">
              <a:solidFill>
                <a:srgbClr val="C9C9C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7" name="object 116">
              <a:extLst>
                <a:ext uri="{FF2B5EF4-FFF2-40B4-BE49-F238E27FC236}">
                  <a16:creationId xmlns:a16="http://schemas.microsoft.com/office/drawing/2014/main" id="{9EECD6F8-BBF8-49D5-A6C4-D18F3A499A93}"/>
                </a:ext>
              </a:extLst>
            </p:cNvPr>
            <p:cNvSpPr/>
            <p:nvPr/>
          </p:nvSpPr>
          <p:spPr>
            <a:xfrm>
              <a:off x="655695" y="2933783"/>
              <a:ext cx="1166495" cy="0"/>
            </a:xfrm>
            <a:custGeom>
              <a:avLst/>
              <a:gdLst/>
              <a:ahLst/>
              <a:cxnLst/>
              <a:rect l="l" t="t" r="r" b="b"/>
              <a:pathLst>
                <a:path w="1166495">
                  <a:moveTo>
                    <a:pt x="0" y="0"/>
                  </a:moveTo>
                  <a:lnTo>
                    <a:pt x="1166329" y="0"/>
                  </a:lnTo>
                </a:path>
              </a:pathLst>
            </a:custGeom>
            <a:ln w="50076">
              <a:solidFill>
                <a:srgbClr val="DA2229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9" name="object 117">
              <a:extLst>
                <a:ext uri="{FF2B5EF4-FFF2-40B4-BE49-F238E27FC236}">
                  <a16:creationId xmlns:a16="http://schemas.microsoft.com/office/drawing/2014/main" id="{EFBF5F8A-DECD-482D-8C41-CE253E98CE6C}"/>
                </a:ext>
              </a:extLst>
            </p:cNvPr>
            <p:cNvSpPr/>
            <p:nvPr/>
          </p:nvSpPr>
          <p:spPr>
            <a:xfrm>
              <a:off x="1750461" y="2865819"/>
              <a:ext cx="128803" cy="128777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1" name="object 118">
              <a:extLst>
                <a:ext uri="{FF2B5EF4-FFF2-40B4-BE49-F238E27FC236}">
                  <a16:creationId xmlns:a16="http://schemas.microsoft.com/office/drawing/2014/main" id="{D1D744A6-5436-43EF-B89F-668D2829FC06}"/>
                </a:ext>
              </a:extLst>
            </p:cNvPr>
            <p:cNvSpPr/>
            <p:nvPr/>
          </p:nvSpPr>
          <p:spPr>
            <a:xfrm>
              <a:off x="1931144" y="1914208"/>
              <a:ext cx="565785" cy="565785"/>
            </a:xfrm>
            <a:custGeom>
              <a:avLst/>
              <a:gdLst/>
              <a:ahLst/>
              <a:cxnLst/>
              <a:rect l="l" t="t" r="r" b="b"/>
              <a:pathLst>
                <a:path w="565785" h="565785">
                  <a:moveTo>
                    <a:pt x="282638" y="0"/>
                  </a:moveTo>
                  <a:lnTo>
                    <a:pt x="236793" y="3699"/>
                  </a:lnTo>
                  <a:lnTo>
                    <a:pt x="193303" y="14410"/>
                  </a:lnTo>
                  <a:lnTo>
                    <a:pt x="152750" y="31550"/>
                  </a:lnTo>
                  <a:lnTo>
                    <a:pt x="115716" y="54537"/>
                  </a:lnTo>
                  <a:lnTo>
                    <a:pt x="82783" y="82789"/>
                  </a:lnTo>
                  <a:lnTo>
                    <a:pt x="54533" y="115724"/>
                  </a:lnTo>
                  <a:lnTo>
                    <a:pt x="31547" y="152760"/>
                  </a:lnTo>
                  <a:lnTo>
                    <a:pt x="14409" y="193314"/>
                  </a:lnTo>
                  <a:lnTo>
                    <a:pt x="3699" y="236805"/>
                  </a:lnTo>
                  <a:lnTo>
                    <a:pt x="0" y="282651"/>
                  </a:lnTo>
                  <a:lnTo>
                    <a:pt x="3699" y="328496"/>
                  </a:lnTo>
                  <a:lnTo>
                    <a:pt x="14409" y="371986"/>
                  </a:lnTo>
                  <a:lnTo>
                    <a:pt x="31547" y="412539"/>
                  </a:lnTo>
                  <a:lnTo>
                    <a:pt x="54533" y="449573"/>
                  </a:lnTo>
                  <a:lnTo>
                    <a:pt x="82783" y="482506"/>
                  </a:lnTo>
                  <a:lnTo>
                    <a:pt x="115716" y="510756"/>
                  </a:lnTo>
                  <a:lnTo>
                    <a:pt x="152750" y="533741"/>
                  </a:lnTo>
                  <a:lnTo>
                    <a:pt x="193303" y="550880"/>
                  </a:lnTo>
                  <a:lnTo>
                    <a:pt x="236793" y="561590"/>
                  </a:lnTo>
                  <a:lnTo>
                    <a:pt x="282638" y="565289"/>
                  </a:lnTo>
                  <a:lnTo>
                    <a:pt x="328483" y="561590"/>
                  </a:lnTo>
                  <a:lnTo>
                    <a:pt x="371973" y="550880"/>
                  </a:lnTo>
                  <a:lnTo>
                    <a:pt x="412526" y="533741"/>
                  </a:lnTo>
                  <a:lnTo>
                    <a:pt x="449560" y="510756"/>
                  </a:lnTo>
                  <a:lnTo>
                    <a:pt x="482493" y="482506"/>
                  </a:lnTo>
                  <a:lnTo>
                    <a:pt x="510743" y="449573"/>
                  </a:lnTo>
                  <a:lnTo>
                    <a:pt x="533729" y="412539"/>
                  </a:lnTo>
                  <a:lnTo>
                    <a:pt x="550867" y="371986"/>
                  </a:lnTo>
                  <a:lnTo>
                    <a:pt x="561577" y="328496"/>
                  </a:lnTo>
                  <a:lnTo>
                    <a:pt x="565276" y="282651"/>
                  </a:lnTo>
                  <a:lnTo>
                    <a:pt x="561577" y="236805"/>
                  </a:lnTo>
                  <a:lnTo>
                    <a:pt x="550867" y="193314"/>
                  </a:lnTo>
                  <a:lnTo>
                    <a:pt x="533729" y="152760"/>
                  </a:lnTo>
                  <a:lnTo>
                    <a:pt x="510743" y="115724"/>
                  </a:lnTo>
                  <a:lnTo>
                    <a:pt x="482493" y="82789"/>
                  </a:lnTo>
                  <a:lnTo>
                    <a:pt x="449560" y="54537"/>
                  </a:lnTo>
                  <a:lnTo>
                    <a:pt x="412526" y="31550"/>
                  </a:lnTo>
                  <a:lnTo>
                    <a:pt x="371973" y="14410"/>
                  </a:lnTo>
                  <a:lnTo>
                    <a:pt x="328483" y="3699"/>
                  </a:lnTo>
                  <a:lnTo>
                    <a:pt x="282638" y="0"/>
                  </a:lnTo>
                  <a:close/>
                </a:path>
              </a:pathLst>
            </a:custGeom>
            <a:solidFill>
              <a:srgbClr val="FFFFFF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3" name="object 119">
              <a:extLst>
                <a:ext uri="{FF2B5EF4-FFF2-40B4-BE49-F238E27FC236}">
                  <a16:creationId xmlns:a16="http://schemas.microsoft.com/office/drawing/2014/main" id="{0B5D29C3-34CF-45F7-A105-71F9FE41267F}"/>
                </a:ext>
              </a:extLst>
            </p:cNvPr>
            <p:cNvSpPr/>
            <p:nvPr/>
          </p:nvSpPr>
          <p:spPr>
            <a:xfrm>
              <a:off x="820275" y="3020746"/>
              <a:ext cx="72301" cy="84975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5" name="object 120">
              <a:extLst>
                <a:ext uri="{FF2B5EF4-FFF2-40B4-BE49-F238E27FC236}">
                  <a16:creationId xmlns:a16="http://schemas.microsoft.com/office/drawing/2014/main" id="{88E7CCB4-3072-492E-9884-EB2162B08925}"/>
                </a:ext>
              </a:extLst>
            </p:cNvPr>
            <p:cNvSpPr/>
            <p:nvPr/>
          </p:nvSpPr>
          <p:spPr>
            <a:xfrm>
              <a:off x="2117935" y="2070278"/>
              <a:ext cx="230543" cy="253149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7" name="object 121">
              <a:extLst>
                <a:ext uri="{FF2B5EF4-FFF2-40B4-BE49-F238E27FC236}">
                  <a16:creationId xmlns:a16="http://schemas.microsoft.com/office/drawing/2014/main" id="{D1883BDC-E5DD-4FC3-AE08-D6D20602F935}"/>
                </a:ext>
              </a:extLst>
            </p:cNvPr>
            <p:cNvSpPr/>
            <p:nvPr/>
          </p:nvSpPr>
          <p:spPr>
            <a:xfrm>
              <a:off x="1027780" y="3020746"/>
              <a:ext cx="93014" cy="86550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9" name="object 122">
              <a:extLst>
                <a:ext uri="{FF2B5EF4-FFF2-40B4-BE49-F238E27FC236}">
                  <a16:creationId xmlns:a16="http://schemas.microsoft.com/office/drawing/2014/main" id="{34106011-56DB-4644-92CA-27216ACBA5B7}"/>
                </a:ext>
              </a:extLst>
            </p:cNvPr>
            <p:cNvSpPr/>
            <p:nvPr/>
          </p:nvSpPr>
          <p:spPr>
            <a:xfrm>
              <a:off x="3550953" y="3012948"/>
              <a:ext cx="102869" cy="102857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163923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1569C4CA-B269-4A38-97FD-A2006060FAC2}"/>
              </a:ext>
            </a:extLst>
          </p:cNvPr>
          <p:cNvGrpSpPr/>
          <p:nvPr/>
        </p:nvGrpSpPr>
        <p:grpSpPr>
          <a:xfrm>
            <a:off x="1212395" y="2912808"/>
            <a:ext cx="3225734" cy="258839"/>
            <a:chOff x="831395" y="3276600"/>
            <a:chExt cx="3225734" cy="258839"/>
          </a:xfrm>
        </p:grpSpPr>
        <p:sp>
          <p:nvSpPr>
            <p:cNvPr id="114" name="object 110">
              <a:extLst>
                <a:ext uri="{FF2B5EF4-FFF2-40B4-BE49-F238E27FC236}">
                  <a16:creationId xmlns:a16="http://schemas.microsoft.com/office/drawing/2014/main" id="{C5667857-7598-4584-8991-C5F6559517E2}"/>
                </a:ext>
              </a:extLst>
            </p:cNvPr>
            <p:cNvSpPr/>
            <p:nvPr/>
          </p:nvSpPr>
          <p:spPr>
            <a:xfrm>
              <a:off x="831395" y="3296742"/>
              <a:ext cx="310847" cy="234759"/>
            </a:xfrm>
            <a:prstGeom prst="rect">
              <a:avLst/>
            </a:prstGeom>
            <a:blipFill>
              <a:blip r:embed="rId2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6" name="object 111">
              <a:extLst>
                <a:ext uri="{FF2B5EF4-FFF2-40B4-BE49-F238E27FC236}">
                  <a16:creationId xmlns:a16="http://schemas.microsoft.com/office/drawing/2014/main" id="{BF930D1D-EDE1-4C3C-A21E-8B2C0C7A17D1}"/>
                </a:ext>
              </a:extLst>
            </p:cNvPr>
            <p:cNvSpPr/>
            <p:nvPr/>
          </p:nvSpPr>
          <p:spPr>
            <a:xfrm>
              <a:off x="1153369" y="3276600"/>
              <a:ext cx="215265" cy="255270"/>
            </a:xfrm>
            <a:custGeom>
              <a:avLst/>
              <a:gdLst/>
              <a:ahLst/>
              <a:cxnLst/>
              <a:rect l="l" t="t" r="r" b="b"/>
              <a:pathLst>
                <a:path w="215265" h="255270">
                  <a:moveTo>
                    <a:pt x="72237" y="113499"/>
                  </a:moveTo>
                  <a:lnTo>
                    <a:pt x="25158" y="113499"/>
                  </a:lnTo>
                  <a:lnTo>
                    <a:pt x="25158" y="221843"/>
                  </a:lnTo>
                  <a:lnTo>
                    <a:pt x="0" y="226682"/>
                  </a:lnTo>
                  <a:lnTo>
                    <a:pt x="0" y="254901"/>
                  </a:lnTo>
                  <a:lnTo>
                    <a:pt x="94970" y="254901"/>
                  </a:lnTo>
                  <a:lnTo>
                    <a:pt x="94970" y="226682"/>
                  </a:lnTo>
                  <a:lnTo>
                    <a:pt x="72237" y="221843"/>
                  </a:lnTo>
                  <a:lnTo>
                    <a:pt x="72237" y="113499"/>
                  </a:lnTo>
                  <a:close/>
                </a:path>
                <a:path w="215265" h="255270">
                  <a:moveTo>
                    <a:pt x="192354" y="37236"/>
                  </a:moveTo>
                  <a:lnTo>
                    <a:pt x="115608" y="37236"/>
                  </a:lnTo>
                  <a:lnTo>
                    <a:pt x="121894" y="37604"/>
                  </a:lnTo>
                  <a:lnTo>
                    <a:pt x="133502" y="39128"/>
                  </a:lnTo>
                  <a:lnTo>
                    <a:pt x="139357" y="40144"/>
                  </a:lnTo>
                  <a:lnTo>
                    <a:pt x="145275" y="41427"/>
                  </a:lnTo>
                  <a:lnTo>
                    <a:pt x="145275" y="221843"/>
                  </a:lnTo>
                  <a:lnTo>
                    <a:pt x="122542" y="226682"/>
                  </a:lnTo>
                  <a:lnTo>
                    <a:pt x="122542" y="254901"/>
                  </a:lnTo>
                  <a:lnTo>
                    <a:pt x="215087" y="254901"/>
                  </a:lnTo>
                  <a:lnTo>
                    <a:pt x="215087" y="226682"/>
                  </a:lnTo>
                  <a:lnTo>
                    <a:pt x="192354" y="221843"/>
                  </a:lnTo>
                  <a:lnTo>
                    <a:pt x="192354" y="37236"/>
                  </a:lnTo>
                  <a:close/>
                </a:path>
                <a:path w="215265" h="255270">
                  <a:moveTo>
                    <a:pt x="110934" y="80441"/>
                  </a:moveTo>
                  <a:lnTo>
                    <a:pt x="3225" y="80441"/>
                  </a:lnTo>
                  <a:lnTo>
                    <a:pt x="3225" y="113499"/>
                  </a:lnTo>
                  <a:lnTo>
                    <a:pt x="110934" y="113499"/>
                  </a:lnTo>
                  <a:lnTo>
                    <a:pt x="110934" y="80441"/>
                  </a:lnTo>
                  <a:close/>
                </a:path>
                <a:path w="215265" h="255270">
                  <a:moveTo>
                    <a:pt x="105765" y="0"/>
                  </a:moveTo>
                  <a:lnTo>
                    <a:pt x="57918" y="10656"/>
                  </a:lnTo>
                  <a:lnTo>
                    <a:pt x="30437" y="41895"/>
                  </a:lnTo>
                  <a:lnTo>
                    <a:pt x="25158" y="72872"/>
                  </a:lnTo>
                  <a:lnTo>
                    <a:pt x="25158" y="80441"/>
                  </a:lnTo>
                  <a:lnTo>
                    <a:pt x="72237" y="80441"/>
                  </a:lnTo>
                  <a:lnTo>
                    <a:pt x="72237" y="72872"/>
                  </a:lnTo>
                  <a:lnTo>
                    <a:pt x="72811" y="64616"/>
                  </a:lnTo>
                  <a:lnTo>
                    <a:pt x="100289" y="37800"/>
                  </a:lnTo>
                  <a:lnTo>
                    <a:pt x="108839" y="37236"/>
                  </a:lnTo>
                  <a:lnTo>
                    <a:pt x="192354" y="37236"/>
                  </a:lnTo>
                  <a:lnTo>
                    <a:pt x="192354" y="9664"/>
                  </a:lnTo>
                  <a:lnTo>
                    <a:pt x="164617" y="9664"/>
                  </a:lnTo>
                  <a:lnTo>
                    <a:pt x="155944" y="7466"/>
                  </a:lnTo>
                  <a:lnTo>
                    <a:pt x="147815" y="5540"/>
                  </a:lnTo>
                  <a:lnTo>
                    <a:pt x="112680" y="155"/>
                  </a:lnTo>
                  <a:lnTo>
                    <a:pt x="105765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8" name="object 112">
              <a:extLst>
                <a:ext uri="{FF2B5EF4-FFF2-40B4-BE49-F238E27FC236}">
                  <a16:creationId xmlns:a16="http://schemas.microsoft.com/office/drawing/2014/main" id="{86E8E90D-256F-4D97-9CF2-6449AC197AC8}"/>
                </a:ext>
              </a:extLst>
            </p:cNvPr>
            <p:cNvSpPr/>
            <p:nvPr/>
          </p:nvSpPr>
          <p:spPr>
            <a:xfrm>
              <a:off x="1381517" y="3357042"/>
              <a:ext cx="192341" cy="177838"/>
            </a:xfrm>
            <a:prstGeom prst="rect">
              <a:avLst/>
            </a:prstGeom>
            <a:blipFill>
              <a:blip r:embed="rId3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0" name="object 113">
              <a:extLst>
                <a:ext uri="{FF2B5EF4-FFF2-40B4-BE49-F238E27FC236}">
                  <a16:creationId xmlns:a16="http://schemas.microsoft.com/office/drawing/2014/main" id="{811AA34A-F48C-4F6E-9064-DD13D217D948}"/>
                </a:ext>
              </a:extLst>
            </p:cNvPr>
            <p:cNvSpPr/>
            <p:nvPr/>
          </p:nvSpPr>
          <p:spPr>
            <a:xfrm>
              <a:off x="1593049" y="3353829"/>
              <a:ext cx="153035" cy="181610"/>
            </a:xfrm>
            <a:custGeom>
              <a:avLst/>
              <a:gdLst/>
              <a:ahLst/>
              <a:cxnLst/>
              <a:rect l="l" t="t" r="r" b="b"/>
              <a:pathLst>
                <a:path w="153034" h="181610">
                  <a:moveTo>
                    <a:pt x="78676" y="0"/>
                  </a:moveTo>
                  <a:lnTo>
                    <a:pt x="32952" y="13989"/>
                  </a:lnTo>
                  <a:lnTo>
                    <a:pt x="5337" y="53560"/>
                  </a:lnTo>
                  <a:lnTo>
                    <a:pt x="0" y="88988"/>
                  </a:lnTo>
                  <a:lnTo>
                    <a:pt x="0" y="95440"/>
                  </a:lnTo>
                  <a:lnTo>
                    <a:pt x="12692" y="143964"/>
                  </a:lnTo>
                  <a:lnTo>
                    <a:pt x="48931" y="175009"/>
                  </a:lnTo>
                  <a:lnTo>
                    <a:pt x="82867" y="181051"/>
                  </a:lnTo>
                  <a:lnTo>
                    <a:pt x="93183" y="180689"/>
                  </a:lnTo>
                  <a:lnTo>
                    <a:pt x="136742" y="168762"/>
                  </a:lnTo>
                  <a:lnTo>
                    <a:pt x="149136" y="160896"/>
                  </a:lnTo>
                  <a:lnTo>
                    <a:pt x="142134" y="144945"/>
                  </a:lnTo>
                  <a:lnTo>
                    <a:pt x="87871" y="144945"/>
                  </a:lnTo>
                  <a:lnTo>
                    <a:pt x="79539" y="144249"/>
                  </a:lnTo>
                  <a:lnTo>
                    <a:pt x="49732" y="113681"/>
                  </a:lnTo>
                  <a:lnTo>
                    <a:pt x="48526" y="105435"/>
                  </a:lnTo>
                  <a:lnTo>
                    <a:pt x="48844" y="104470"/>
                  </a:lnTo>
                  <a:lnTo>
                    <a:pt x="153009" y="104470"/>
                  </a:lnTo>
                  <a:lnTo>
                    <a:pt x="153009" y="78841"/>
                  </a:lnTo>
                  <a:lnTo>
                    <a:pt x="152620" y="73355"/>
                  </a:lnTo>
                  <a:lnTo>
                    <a:pt x="49174" y="73355"/>
                  </a:lnTo>
                  <a:lnTo>
                    <a:pt x="48691" y="72542"/>
                  </a:lnTo>
                  <a:lnTo>
                    <a:pt x="69964" y="36271"/>
                  </a:lnTo>
                  <a:lnTo>
                    <a:pt x="143574" y="36271"/>
                  </a:lnTo>
                  <a:lnTo>
                    <a:pt x="142026" y="32855"/>
                  </a:lnTo>
                  <a:lnTo>
                    <a:pt x="133489" y="21272"/>
                  </a:lnTo>
                  <a:lnTo>
                    <a:pt x="122749" y="11963"/>
                  </a:lnTo>
                  <a:lnTo>
                    <a:pt x="110035" y="5316"/>
                  </a:lnTo>
                  <a:lnTo>
                    <a:pt x="95345" y="1328"/>
                  </a:lnTo>
                  <a:lnTo>
                    <a:pt x="78676" y="0"/>
                  </a:lnTo>
                  <a:close/>
                </a:path>
                <a:path w="153034" h="181610">
                  <a:moveTo>
                    <a:pt x="136398" y="131876"/>
                  </a:moveTo>
                  <a:lnTo>
                    <a:pt x="95352" y="144749"/>
                  </a:lnTo>
                  <a:lnTo>
                    <a:pt x="87871" y="144945"/>
                  </a:lnTo>
                  <a:lnTo>
                    <a:pt x="142134" y="144945"/>
                  </a:lnTo>
                  <a:lnTo>
                    <a:pt x="136398" y="131876"/>
                  </a:lnTo>
                  <a:close/>
                </a:path>
                <a:path w="153034" h="181610">
                  <a:moveTo>
                    <a:pt x="143574" y="36271"/>
                  </a:moveTo>
                  <a:lnTo>
                    <a:pt x="88138" y="36271"/>
                  </a:lnTo>
                  <a:lnTo>
                    <a:pt x="95199" y="39242"/>
                  </a:lnTo>
                  <a:lnTo>
                    <a:pt x="104559" y="51180"/>
                  </a:lnTo>
                  <a:lnTo>
                    <a:pt x="106895" y="59169"/>
                  </a:lnTo>
                  <a:lnTo>
                    <a:pt x="106895" y="73355"/>
                  </a:lnTo>
                  <a:lnTo>
                    <a:pt x="152620" y="73355"/>
                  </a:lnTo>
                  <a:lnTo>
                    <a:pt x="151788" y="61636"/>
                  </a:lnTo>
                  <a:lnTo>
                    <a:pt x="148107" y="46266"/>
                  </a:lnTo>
                  <a:lnTo>
                    <a:pt x="143574" y="36271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2" name="object 114">
              <a:extLst>
                <a:ext uri="{FF2B5EF4-FFF2-40B4-BE49-F238E27FC236}">
                  <a16:creationId xmlns:a16="http://schemas.microsoft.com/office/drawing/2014/main" id="{69BC25C9-6354-4B27-93F6-AC9EA1984F04}"/>
                </a:ext>
              </a:extLst>
            </p:cNvPr>
            <p:cNvSpPr/>
            <p:nvPr/>
          </p:nvSpPr>
          <p:spPr>
            <a:xfrm>
              <a:off x="1763318" y="3353816"/>
              <a:ext cx="200025" cy="177800"/>
            </a:xfrm>
            <a:custGeom>
              <a:avLst/>
              <a:gdLst/>
              <a:ahLst/>
              <a:cxnLst/>
              <a:rect l="l" t="t" r="r" b="b"/>
              <a:pathLst>
                <a:path w="200025" h="177800">
                  <a:moveTo>
                    <a:pt x="68833" y="3225"/>
                  </a:moveTo>
                  <a:lnTo>
                    <a:pt x="0" y="3225"/>
                  </a:lnTo>
                  <a:lnTo>
                    <a:pt x="0" y="31610"/>
                  </a:lnTo>
                  <a:lnTo>
                    <a:pt x="24980" y="36449"/>
                  </a:lnTo>
                  <a:lnTo>
                    <a:pt x="24980" y="144627"/>
                  </a:lnTo>
                  <a:lnTo>
                    <a:pt x="2412" y="149466"/>
                  </a:lnTo>
                  <a:lnTo>
                    <a:pt x="2412" y="177685"/>
                  </a:lnTo>
                  <a:lnTo>
                    <a:pt x="91084" y="177685"/>
                  </a:lnTo>
                  <a:lnTo>
                    <a:pt x="91084" y="149466"/>
                  </a:lnTo>
                  <a:lnTo>
                    <a:pt x="72059" y="144627"/>
                  </a:lnTo>
                  <a:lnTo>
                    <a:pt x="72059" y="51117"/>
                  </a:lnTo>
                  <a:lnTo>
                    <a:pt x="75399" y="46494"/>
                  </a:lnTo>
                  <a:lnTo>
                    <a:pt x="79540" y="42913"/>
                  </a:lnTo>
                  <a:lnTo>
                    <a:pt x="89420" y="37871"/>
                  </a:lnTo>
                  <a:lnTo>
                    <a:pt x="95021" y="36601"/>
                  </a:lnTo>
                  <a:lnTo>
                    <a:pt x="172797" y="36601"/>
                  </a:lnTo>
                  <a:lnTo>
                    <a:pt x="169515" y="28219"/>
                  </a:lnTo>
                  <a:lnTo>
                    <a:pt x="70942" y="28219"/>
                  </a:lnTo>
                  <a:lnTo>
                    <a:pt x="68833" y="3225"/>
                  </a:lnTo>
                  <a:close/>
                </a:path>
                <a:path w="200025" h="177800">
                  <a:moveTo>
                    <a:pt x="172797" y="36601"/>
                  </a:moveTo>
                  <a:lnTo>
                    <a:pt x="110820" y="36601"/>
                  </a:lnTo>
                  <a:lnTo>
                    <a:pt x="117957" y="39052"/>
                  </a:lnTo>
                  <a:lnTo>
                    <a:pt x="122694" y="43942"/>
                  </a:lnTo>
                  <a:lnTo>
                    <a:pt x="129781" y="144627"/>
                  </a:lnTo>
                  <a:lnTo>
                    <a:pt x="109626" y="149466"/>
                  </a:lnTo>
                  <a:lnTo>
                    <a:pt x="109626" y="177685"/>
                  </a:lnTo>
                  <a:lnTo>
                    <a:pt x="199593" y="177685"/>
                  </a:lnTo>
                  <a:lnTo>
                    <a:pt x="199593" y="149466"/>
                  </a:lnTo>
                  <a:lnTo>
                    <a:pt x="177025" y="144627"/>
                  </a:lnTo>
                  <a:lnTo>
                    <a:pt x="177025" y="68694"/>
                  </a:lnTo>
                  <a:lnTo>
                    <a:pt x="176098" y="52132"/>
                  </a:lnTo>
                  <a:lnTo>
                    <a:pt x="173294" y="37871"/>
                  </a:lnTo>
                  <a:lnTo>
                    <a:pt x="172797" y="36601"/>
                  </a:lnTo>
                  <a:close/>
                </a:path>
                <a:path w="200025" h="177800">
                  <a:moveTo>
                    <a:pt x="120916" y="0"/>
                  </a:moveTo>
                  <a:lnTo>
                    <a:pt x="80656" y="16332"/>
                  </a:lnTo>
                  <a:lnTo>
                    <a:pt x="70942" y="28219"/>
                  </a:lnTo>
                  <a:lnTo>
                    <a:pt x="169515" y="28219"/>
                  </a:lnTo>
                  <a:lnTo>
                    <a:pt x="133411" y="1038"/>
                  </a:lnTo>
                  <a:lnTo>
                    <a:pt x="120916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4" name="object 115">
              <a:extLst>
                <a:ext uri="{FF2B5EF4-FFF2-40B4-BE49-F238E27FC236}">
                  <a16:creationId xmlns:a16="http://schemas.microsoft.com/office/drawing/2014/main" id="{511703B4-6A87-46A6-BD6A-AFB0C0135605}"/>
                </a:ext>
              </a:extLst>
            </p:cNvPr>
            <p:cNvSpPr/>
            <p:nvPr/>
          </p:nvSpPr>
          <p:spPr>
            <a:xfrm>
              <a:off x="1976945" y="3353816"/>
              <a:ext cx="152400" cy="181610"/>
            </a:xfrm>
            <a:custGeom>
              <a:avLst/>
              <a:gdLst/>
              <a:ahLst/>
              <a:cxnLst/>
              <a:rect l="l" t="t" r="r" b="b"/>
              <a:pathLst>
                <a:path w="152400" h="181610">
                  <a:moveTo>
                    <a:pt x="83515" y="0"/>
                  </a:moveTo>
                  <a:lnTo>
                    <a:pt x="33673" y="13962"/>
                  </a:lnTo>
                  <a:lnTo>
                    <a:pt x="5419" y="53089"/>
                  </a:lnTo>
                  <a:lnTo>
                    <a:pt x="0" y="88188"/>
                  </a:lnTo>
                  <a:lnTo>
                    <a:pt x="0" y="93027"/>
                  </a:lnTo>
                  <a:lnTo>
                    <a:pt x="11878" y="143176"/>
                  </a:lnTo>
                  <a:lnTo>
                    <a:pt x="46715" y="174893"/>
                  </a:lnTo>
                  <a:lnTo>
                    <a:pt x="81254" y="181063"/>
                  </a:lnTo>
                  <a:lnTo>
                    <a:pt x="95868" y="179949"/>
                  </a:lnTo>
                  <a:lnTo>
                    <a:pt x="132206" y="163245"/>
                  </a:lnTo>
                  <a:lnTo>
                    <a:pt x="146399" y="144945"/>
                  </a:lnTo>
                  <a:lnTo>
                    <a:pt x="81254" y="144945"/>
                  </a:lnTo>
                  <a:lnTo>
                    <a:pt x="72455" y="144052"/>
                  </a:lnTo>
                  <a:lnTo>
                    <a:pt x="47550" y="104151"/>
                  </a:lnTo>
                  <a:lnTo>
                    <a:pt x="47078" y="93027"/>
                  </a:lnTo>
                  <a:lnTo>
                    <a:pt x="47078" y="88188"/>
                  </a:lnTo>
                  <a:lnTo>
                    <a:pt x="55295" y="50787"/>
                  </a:lnTo>
                  <a:lnTo>
                    <a:pt x="83515" y="36271"/>
                  </a:lnTo>
                  <a:lnTo>
                    <a:pt x="149458" y="36271"/>
                  </a:lnTo>
                  <a:lnTo>
                    <a:pt x="149288" y="24028"/>
                  </a:lnTo>
                  <a:lnTo>
                    <a:pt x="112745" y="3536"/>
                  </a:lnTo>
                  <a:lnTo>
                    <a:pt x="93804" y="392"/>
                  </a:lnTo>
                  <a:lnTo>
                    <a:pt x="83515" y="0"/>
                  </a:lnTo>
                  <a:close/>
                </a:path>
                <a:path w="152400" h="181610">
                  <a:moveTo>
                    <a:pt x="151549" y="118021"/>
                  </a:moveTo>
                  <a:lnTo>
                    <a:pt x="108991" y="118021"/>
                  </a:lnTo>
                  <a:lnTo>
                    <a:pt x="108991" y="126187"/>
                  </a:lnTo>
                  <a:lnTo>
                    <a:pt x="106464" y="132715"/>
                  </a:lnTo>
                  <a:lnTo>
                    <a:pt x="96354" y="142506"/>
                  </a:lnTo>
                  <a:lnTo>
                    <a:pt x="89636" y="144945"/>
                  </a:lnTo>
                  <a:lnTo>
                    <a:pt x="146399" y="144945"/>
                  </a:lnTo>
                  <a:lnTo>
                    <a:pt x="147396" y="143273"/>
                  </a:lnTo>
                  <a:lnTo>
                    <a:pt x="151034" y="131668"/>
                  </a:lnTo>
                  <a:lnTo>
                    <a:pt x="152031" y="118986"/>
                  </a:lnTo>
                  <a:lnTo>
                    <a:pt x="151549" y="118021"/>
                  </a:lnTo>
                  <a:close/>
                </a:path>
                <a:path w="152400" h="181610">
                  <a:moveTo>
                    <a:pt x="149458" y="36271"/>
                  </a:moveTo>
                  <a:lnTo>
                    <a:pt x="87922" y="36271"/>
                  </a:lnTo>
                  <a:lnTo>
                    <a:pt x="91833" y="36944"/>
                  </a:lnTo>
                  <a:lnTo>
                    <a:pt x="98717" y="39636"/>
                  </a:lnTo>
                  <a:lnTo>
                    <a:pt x="101625" y="41325"/>
                  </a:lnTo>
                  <a:lnTo>
                    <a:pt x="103987" y="43370"/>
                  </a:lnTo>
                  <a:lnTo>
                    <a:pt x="111721" y="70612"/>
                  </a:lnTo>
                  <a:lnTo>
                    <a:pt x="149936" y="70612"/>
                  </a:lnTo>
                  <a:lnTo>
                    <a:pt x="149458" y="36271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6" name="object 116">
              <a:extLst>
                <a:ext uri="{FF2B5EF4-FFF2-40B4-BE49-F238E27FC236}">
                  <a16:creationId xmlns:a16="http://schemas.microsoft.com/office/drawing/2014/main" id="{172A1CA7-C7C5-4FA2-BF69-5CAB24FB38F6}"/>
                </a:ext>
              </a:extLst>
            </p:cNvPr>
            <p:cNvSpPr/>
            <p:nvPr/>
          </p:nvSpPr>
          <p:spPr>
            <a:xfrm>
              <a:off x="2150909" y="3353829"/>
              <a:ext cx="153009" cy="181051"/>
            </a:xfrm>
            <a:prstGeom prst="rect">
              <a:avLst/>
            </a:prstGeom>
            <a:blipFill>
              <a:blip r:embed="rId4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8" name="object 117">
              <a:extLst>
                <a:ext uri="{FF2B5EF4-FFF2-40B4-BE49-F238E27FC236}">
                  <a16:creationId xmlns:a16="http://schemas.microsoft.com/office/drawing/2014/main" id="{B64E028F-510D-43F9-BBE8-4BE9587540A4}"/>
                </a:ext>
              </a:extLst>
            </p:cNvPr>
            <p:cNvSpPr/>
            <p:nvPr/>
          </p:nvSpPr>
          <p:spPr>
            <a:xfrm>
              <a:off x="2327300" y="3353816"/>
              <a:ext cx="123825" cy="177685"/>
            </a:xfrm>
            <a:prstGeom prst="rect">
              <a:avLst/>
            </a:prstGeom>
            <a:blipFill>
              <a:blip r:embed="rId5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0" name="object 118">
              <a:extLst>
                <a:ext uri="{FF2B5EF4-FFF2-40B4-BE49-F238E27FC236}">
                  <a16:creationId xmlns:a16="http://schemas.microsoft.com/office/drawing/2014/main" id="{0779F519-5117-4C74-A363-A23C6EAB0D2A}"/>
                </a:ext>
              </a:extLst>
            </p:cNvPr>
            <p:cNvSpPr/>
            <p:nvPr/>
          </p:nvSpPr>
          <p:spPr>
            <a:xfrm>
              <a:off x="2543022" y="3314319"/>
              <a:ext cx="108673" cy="220560"/>
            </a:xfrm>
            <a:prstGeom prst="rect">
              <a:avLst/>
            </a:prstGeom>
            <a:blipFill>
              <a:blip r:embed="rId6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2" name="object 119">
              <a:extLst>
                <a:ext uri="{FF2B5EF4-FFF2-40B4-BE49-F238E27FC236}">
                  <a16:creationId xmlns:a16="http://schemas.microsoft.com/office/drawing/2014/main" id="{6DAED75B-6E7C-4D42-817C-9B20D13800A1}"/>
                </a:ext>
              </a:extLst>
            </p:cNvPr>
            <p:cNvSpPr/>
            <p:nvPr/>
          </p:nvSpPr>
          <p:spPr>
            <a:xfrm>
              <a:off x="2671025" y="3353816"/>
              <a:ext cx="163830" cy="181610"/>
            </a:xfrm>
            <a:custGeom>
              <a:avLst/>
              <a:gdLst/>
              <a:ahLst/>
              <a:cxnLst/>
              <a:rect l="l" t="t" r="r" b="b"/>
              <a:pathLst>
                <a:path w="163830" h="181610">
                  <a:moveTo>
                    <a:pt x="143123" y="34340"/>
                  </a:moveTo>
                  <a:lnTo>
                    <a:pt x="82181" y="34340"/>
                  </a:lnTo>
                  <a:lnTo>
                    <a:pt x="89331" y="36652"/>
                  </a:lnTo>
                  <a:lnTo>
                    <a:pt x="98996" y="45910"/>
                  </a:lnTo>
                  <a:lnTo>
                    <a:pt x="101422" y="52400"/>
                  </a:lnTo>
                  <a:lnTo>
                    <a:pt x="101422" y="77876"/>
                  </a:lnTo>
                  <a:lnTo>
                    <a:pt x="77393" y="77876"/>
                  </a:lnTo>
                  <a:lnTo>
                    <a:pt x="59520" y="78714"/>
                  </a:lnTo>
                  <a:lnTo>
                    <a:pt x="19672" y="91262"/>
                  </a:lnTo>
                  <a:lnTo>
                    <a:pt x="0" y="129146"/>
                  </a:lnTo>
                  <a:lnTo>
                    <a:pt x="942" y="140528"/>
                  </a:lnTo>
                  <a:lnTo>
                    <a:pt x="23281" y="173225"/>
                  </a:lnTo>
                  <a:lnTo>
                    <a:pt x="55791" y="181063"/>
                  </a:lnTo>
                  <a:lnTo>
                    <a:pt x="63316" y="180692"/>
                  </a:lnTo>
                  <a:lnTo>
                    <a:pt x="99263" y="164066"/>
                  </a:lnTo>
                  <a:lnTo>
                    <a:pt x="103682" y="159461"/>
                  </a:lnTo>
                  <a:lnTo>
                    <a:pt x="163652" y="159461"/>
                  </a:lnTo>
                  <a:lnTo>
                    <a:pt x="163652" y="149466"/>
                  </a:lnTo>
                  <a:lnTo>
                    <a:pt x="149301" y="147535"/>
                  </a:lnTo>
                  <a:lnTo>
                    <a:pt x="149109" y="146240"/>
                  </a:lnTo>
                  <a:lnTo>
                    <a:pt x="61760" y="146240"/>
                  </a:lnTo>
                  <a:lnTo>
                    <a:pt x="56464" y="144576"/>
                  </a:lnTo>
                  <a:lnTo>
                    <a:pt x="48831" y="137909"/>
                  </a:lnTo>
                  <a:lnTo>
                    <a:pt x="46926" y="133286"/>
                  </a:lnTo>
                  <a:lnTo>
                    <a:pt x="46926" y="120815"/>
                  </a:lnTo>
                  <a:lnTo>
                    <a:pt x="49504" y="115214"/>
                  </a:lnTo>
                  <a:lnTo>
                    <a:pt x="59816" y="105854"/>
                  </a:lnTo>
                  <a:lnTo>
                    <a:pt x="67398" y="103517"/>
                  </a:lnTo>
                  <a:lnTo>
                    <a:pt x="148666" y="103517"/>
                  </a:lnTo>
                  <a:lnTo>
                    <a:pt x="148666" y="61112"/>
                  </a:lnTo>
                  <a:lnTo>
                    <a:pt x="147399" y="47282"/>
                  </a:lnTo>
                  <a:lnTo>
                    <a:pt x="143602" y="35132"/>
                  </a:lnTo>
                  <a:lnTo>
                    <a:pt x="143123" y="34340"/>
                  </a:lnTo>
                  <a:close/>
                </a:path>
                <a:path w="163830" h="181610">
                  <a:moveTo>
                    <a:pt x="163652" y="159461"/>
                  </a:moveTo>
                  <a:lnTo>
                    <a:pt x="103682" y="159461"/>
                  </a:lnTo>
                  <a:lnTo>
                    <a:pt x="104216" y="162572"/>
                  </a:lnTo>
                  <a:lnTo>
                    <a:pt x="104965" y="165658"/>
                  </a:lnTo>
                  <a:lnTo>
                    <a:pt x="106929" y="171882"/>
                  </a:lnTo>
                  <a:lnTo>
                    <a:pt x="108026" y="174777"/>
                  </a:lnTo>
                  <a:lnTo>
                    <a:pt x="109321" y="177685"/>
                  </a:lnTo>
                  <a:lnTo>
                    <a:pt x="163652" y="177685"/>
                  </a:lnTo>
                  <a:lnTo>
                    <a:pt x="163652" y="159461"/>
                  </a:lnTo>
                  <a:close/>
                </a:path>
                <a:path w="163830" h="181610">
                  <a:moveTo>
                    <a:pt x="148666" y="103517"/>
                  </a:moveTo>
                  <a:lnTo>
                    <a:pt x="101422" y="103517"/>
                  </a:lnTo>
                  <a:lnTo>
                    <a:pt x="101422" y="130111"/>
                  </a:lnTo>
                  <a:lnTo>
                    <a:pt x="98196" y="134746"/>
                  </a:lnTo>
                  <a:lnTo>
                    <a:pt x="93675" y="138569"/>
                  </a:lnTo>
                  <a:lnTo>
                    <a:pt x="82067" y="144703"/>
                  </a:lnTo>
                  <a:lnTo>
                    <a:pt x="75628" y="146240"/>
                  </a:lnTo>
                  <a:lnTo>
                    <a:pt x="149109" y="146240"/>
                  </a:lnTo>
                  <a:lnTo>
                    <a:pt x="148983" y="145389"/>
                  </a:lnTo>
                  <a:lnTo>
                    <a:pt x="148793" y="143128"/>
                  </a:lnTo>
                  <a:lnTo>
                    <a:pt x="148686" y="137909"/>
                  </a:lnTo>
                  <a:lnTo>
                    <a:pt x="148666" y="103517"/>
                  </a:lnTo>
                  <a:close/>
                </a:path>
                <a:path w="163830" h="181610">
                  <a:moveTo>
                    <a:pt x="75780" y="0"/>
                  </a:moveTo>
                  <a:lnTo>
                    <a:pt x="31320" y="9127"/>
                  </a:lnTo>
                  <a:lnTo>
                    <a:pt x="9677" y="59334"/>
                  </a:lnTo>
                  <a:lnTo>
                    <a:pt x="45148" y="59334"/>
                  </a:lnTo>
                  <a:lnTo>
                    <a:pt x="48209" y="40639"/>
                  </a:lnTo>
                  <a:lnTo>
                    <a:pt x="50799" y="38912"/>
                  </a:lnTo>
                  <a:lnTo>
                    <a:pt x="54178" y="37439"/>
                  </a:lnTo>
                  <a:lnTo>
                    <a:pt x="62560" y="34963"/>
                  </a:lnTo>
                  <a:lnTo>
                    <a:pt x="67348" y="34340"/>
                  </a:lnTo>
                  <a:lnTo>
                    <a:pt x="143123" y="34340"/>
                  </a:lnTo>
                  <a:lnTo>
                    <a:pt x="137275" y="24666"/>
                  </a:lnTo>
                  <a:lnTo>
                    <a:pt x="128422" y="15887"/>
                  </a:lnTo>
                  <a:lnTo>
                    <a:pt x="117545" y="8936"/>
                  </a:lnTo>
                  <a:lnTo>
                    <a:pt x="105144" y="3971"/>
                  </a:lnTo>
                  <a:lnTo>
                    <a:pt x="91223" y="992"/>
                  </a:lnTo>
                  <a:lnTo>
                    <a:pt x="75780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4" name="object 120">
              <a:extLst>
                <a:ext uri="{FF2B5EF4-FFF2-40B4-BE49-F238E27FC236}">
                  <a16:creationId xmlns:a16="http://schemas.microsoft.com/office/drawing/2014/main" id="{63B90F00-CF50-4D00-9C99-E8D049DE70BE}"/>
                </a:ext>
              </a:extLst>
            </p:cNvPr>
            <p:cNvSpPr/>
            <p:nvPr/>
          </p:nvSpPr>
          <p:spPr>
            <a:xfrm>
              <a:off x="2845650" y="3279978"/>
              <a:ext cx="190500" cy="252095"/>
            </a:xfrm>
            <a:custGeom>
              <a:avLst/>
              <a:gdLst/>
              <a:ahLst/>
              <a:cxnLst/>
              <a:rect l="l" t="t" r="r" b="b"/>
              <a:pathLst>
                <a:path w="190500" h="252095">
                  <a:moveTo>
                    <a:pt x="72072" y="0"/>
                  </a:moveTo>
                  <a:lnTo>
                    <a:pt x="0" y="0"/>
                  </a:lnTo>
                  <a:lnTo>
                    <a:pt x="0" y="28371"/>
                  </a:lnTo>
                  <a:lnTo>
                    <a:pt x="25146" y="33210"/>
                  </a:lnTo>
                  <a:lnTo>
                    <a:pt x="25146" y="218465"/>
                  </a:lnTo>
                  <a:lnTo>
                    <a:pt x="2413" y="223304"/>
                  </a:lnTo>
                  <a:lnTo>
                    <a:pt x="2413" y="251510"/>
                  </a:lnTo>
                  <a:lnTo>
                    <a:pt x="92379" y="251510"/>
                  </a:lnTo>
                  <a:lnTo>
                    <a:pt x="92379" y="223304"/>
                  </a:lnTo>
                  <a:lnTo>
                    <a:pt x="72072" y="218465"/>
                  </a:lnTo>
                  <a:lnTo>
                    <a:pt x="72072" y="178473"/>
                  </a:lnTo>
                  <a:lnTo>
                    <a:pt x="144718" y="178473"/>
                  </a:lnTo>
                  <a:lnTo>
                    <a:pt x="128016" y="153327"/>
                  </a:lnTo>
                  <a:lnTo>
                    <a:pt x="133534" y="145745"/>
                  </a:lnTo>
                  <a:lnTo>
                    <a:pt x="72072" y="145745"/>
                  </a:lnTo>
                  <a:lnTo>
                    <a:pt x="72072" y="0"/>
                  </a:lnTo>
                  <a:close/>
                </a:path>
                <a:path w="190500" h="252095">
                  <a:moveTo>
                    <a:pt x="144718" y="178473"/>
                  </a:moveTo>
                  <a:lnTo>
                    <a:pt x="92227" y="178473"/>
                  </a:lnTo>
                  <a:lnTo>
                    <a:pt x="118986" y="221691"/>
                  </a:lnTo>
                  <a:lnTo>
                    <a:pt x="109308" y="223304"/>
                  </a:lnTo>
                  <a:lnTo>
                    <a:pt x="109308" y="251510"/>
                  </a:lnTo>
                  <a:lnTo>
                    <a:pt x="189928" y="251510"/>
                  </a:lnTo>
                  <a:lnTo>
                    <a:pt x="189928" y="223304"/>
                  </a:lnTo>
                  <a:lnTo>
                    <a:pt x="172034" y="219595"/>
                  </a:lnTo>
                  <a:lnTo>
                    <a:pt x="144718" y="178473"/>
                  </a:lnTo>
                  <a:close/>
                </a:path>
                <a:path w="190500" h="252095">
                  <a:moveTo>
                    <a:pt x="180098" y="77063"/>
                  </a:moveTo>
                  <a:lnTo>
                    <a:pt x="94322" y="77063"/>
                  </a:lnTo>
                  <a:lnTo>
                    <a:pt x="94322" y="105435"/>
                  </a:lnTo>
                  <a:lnTo>
                    <a:pt x="109639" y="107530"/>
                  </a:lnTo>
                  <a:lnTo>
                    <a:pt x="82550" y="145745"/>
                  </a:lnTo>
                  <a:lnTo>
                    <a:pt x="133534" y="145745"/>
                  </a:lnTo>
                  <a:lnTo>
                    <a:pt x="159461" y="110121"/>
                  </a:lnTo>
                  <a:lnTo>
                    <a:pt x="180098" y="105435"/>
                  </a:lnTo>
                  <a:lnTo>
                    <a:pt x="180098" y="77063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6" name="object 121">
              <a:extLst>
                <a:ext uri="{FF2B5EF4-FFF2-40B4-BE49-F238E27FC236}">
                  <a16:creationId xmlns:a16="http://schemas.microsoft.com/office/drawing/2014/main" id="{22E246F2-1646-43CB-A3FE-7B543425F517}"/>
                </a:ext>
              </a:extLst>
            </p:cNvPr>
            <p:cNvSpPr/>
            <p:nvPr/>
          </p:nvSpPr>
          <p:spPr>
            <a:xfrm>
              <a:off x="3049447" y="3353829"/>
              <a:ext cx="153035" cy="181610"/>
            </a:xfrm>
            <a:custGeom>
              <a:avLst/>
              <a:gdLst/>
              <a:ahLst/>
              <a:cxnLst/>
              <a:rect l="l" t="t" r="r" b="b"/>
              <a:pathLst>
                <a:path w="153035" h="181610">
                  <a:moveTo>
                    <a:pt x="78676" y="0"/>
                  </a:moveTo>
                  <a:lnTo>
                    <a:pt x="32952" y="13989"/>
                  </a:lnTo>
                  <a:lnTo>
                    <a:pt x="5337" y="53560"/>
                  </a:lnTo>
                  <a:lnTo>
                    <a:pt x="0" y="88988"/>
                  </a:lnTo>
                  <a:lnTo>
                    <a:pt x="0" y="95440"/>
                  </a:lnTo>
                  <a:lnTo>
                    <a:pt x="12692" y="143964"/>
                  </a:lnTo>
                  <a:lnTo>
                    <a:pt x="48931" y="175009"/>
                  </a:lnTo>
                  <a:lnTo>
                    <a:pt x="82867" y="181051"/>
                  </a:lnTo>
                  <a:lnTo>
                    <a:pt x="93183" y="180689"/>
                  </a:lnTo>
                  <a:lnTo>
                    <a:pt x="136742" y="168762"/>
                  </a:lnTo>
                  <a:lnTo>
                    <a:pt x="149136" y="160896"/>
                  </a:lnTo>
                  <a:lnTo>
                    <a:pt x="142134" y="144945"/>
                  </a:lnTo>
                  <a:lnTo>
                    <a:pt x="87871" y="144945"/>
                  </a:lnTo>
                  <a:lnTo>
                    <a:pt x="79539" y="144249"/>
                  </a:lnTo>
                  <a:lnTo>
                    <a:pt x="49732" y="113681"/>
                  </a:lnTo>
                  <a:lnTo>
                    <a:pt x="48526" y="105435"/>
                  </a:lnTo>
                  <a:lnTo>
                    <a:pt x="48844" y="104470"/>
                  </a:lnTo>
                  <a:lnTo>
                    <a:pt x="153009" y="104470"/>
                  </a:lnTo>
                  <a:lnTo>
                    <a:pt x="153009" y="78841"/>
                  </a:lnTo>
                  <a:lnTo>
                    <a:pt x="152620" y="73355"/>
                  </a:lnTo>
                  <a:lnTo>
                    <a:pt x="49174" y="73355"/>
                  </a:lnTo>
                  <a:lnTo>
                    <a:pt x="48691" y="72542"/>
                  </a:lnTo>
                  <a:lnTo>
                    <a:pt x="69964" y="36271"/>
                  </a:lnTo>
                  <a:lnTo>
                    <a:pt x="143574" y="36271"/>
                  </a:lnTo>
                  <a:lnTo>
                    <a:pt x="142026" y="32855"/>
                  </a:lnTo>
                  <a:lnTo>
                    <a:pt x="133489" y="21272"/>
                  </a:lnTo>
                  <a:lnTo>
                    <a:pt x="122749" y="11963"/>
                  </a:lnTo>
                  <a:lnTo>
                    <a:pt x="110035" y="5316"/>
                  </a:lnTo>
                  <a:lnTo>
                    <a:pt x="95345" y="1328"/>
                  </a:lnTo>
                  <a:lnTo>
                    <a:pt x="78676" y="0"/>
                  </a:lnTo>
                  <a:close/>
                </a:path>
                <a:path w="153035" h="181610">
                  <a:moveTo>
                    <a:pt x="136397" y="131876"/>
                  </a:moveTo>
                  <a:lnTo>
                    <a:pt x="95352" y="144749"/>
                  </a:lnTo>
                  <a:lnTo>
                    <a:pt x="87871" y="144945"/>
                  </a:lnTo>
                  <a:lnTo>
                    <a:pt x="142134" y="144945"/>
                  </a:lnTo>
                  <a:lnTo>
                    <a:pt x="136397" y="131876"/>
                  </a:lnTo>
                  <a:close/>
                </a:path>
                <a:path w="153035" h="181610">
                  <a:moveTo>
                    <a:pt x="143574" y="36271"/>
                  </a:moveTo>
                  <a:lnTo>
                    <a:pt x="88137" y="36271"/>
                  </a:lnTo>
                  <a:lnTo>
                    <a:pt x="95199" y="39242"/>
                  </a:lnTo>
                  <a:lnTo>
                    <a:pt x="104559" y="51180"/>
                  </a:lnTo>
                  <a:lnTo>
                    <a:pt x="106895" y="59169"/>
                  </a:lnTo>
                  <a:lnTo>
                    <a:pt x="106895" y="73355"/>
                  </a:lnTo>
                  <a:lnTo>
                    <a:pt x="152620" y="73355"/>
                  </a:lnTo>
                  <a:lnTo>
                    <a:pt x="151788" y="61636"/>
                  </a:lnTo>
                  <a:lnTo>
                    <a:pt x="148107" y="46266"/>
                  </a:lnTo>
                  <a:lnTo>
                    <a:pt x="143574" y="36271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8" name="object 122">
              <a:extLst>
                <a:ext uri="{FF2B5EF4-FFF2-40B4-BE49-F238E27FC236}">
                  <a16:creationId xmlns:a16="http://schemas.microsoft.com/office/drawing/2014/main" id="{B760D2B6-C2FA-4565-AAED-27C66172A9EE}"/>
                </a:ext>
              </a:extLst>
            </p:cNvPr>
            <p:cNvSpPr/>
            <p:nvPr/>
          </p:nvSpPr>
          <p:spPr>
            <a:xfrm>
              <a:off x="3224694" y="3353816"/>
              <a:ext cx="165100" cy="181610"/>
            </a:xfrm>
            <a:custGeom>
              <a:avLst/>
              <a:gdLst/>
              <a:ahLst/>
              <a:cxnLst/>
              <a:rect l="l" t="t" r="r" b="b"/>
              <a:pathLst>
                <a:path w="165100" h="181610">
                  <a:moveTo>
                    <a:pt x="82232" y="0"/>
                  </a:moveTo>
                  <a:lnTo>
                    <a:pt x="33812" y="14016"/>
                  </a:lnTo>
                  <a:lnTo>
                    <a:pt x="5459" y="53352"/>
                  </a:lnTo>
                  <a:lnTo>
                    <a:pt x="0" y="88836"/>
                  </a:lnTo>
                  <a:lnTo>
                    <a:pt x="0" y="92227"/>
                  </a:lnTo>
                  <a:lnTo>
                    <a:pt x="12285" y="143026"/>
                  </a:lnTo>
                  <a:lnTo>
                    <a:pt x="47944" y="174879"/>
                  </a:lnTo>
                  <a:lnTo>
                    <a:pt x="82549" y="181063"/>
                  </a:lnTo>
                  <a:lnTo>
                    <a:pt x="100702" y="179518"/>
                  </a:lnTo>
                  <a:lnTo>
                    <a:pt x="116790" y="174879"/>
                  </a:lnTo>
                  <a:lnTo>
                    <a:pt x="130814" y="167144"/>
                  </a:lnTo>
                  <a:lnTo>
                    <a:pt x="142773" y="156311"/>
                  </a:lnTo>
                  <a:lnTo>
                    <a:pt x="150951" y="144945"/>
                  </a:lnTo>
                  <a:lnTo>
                    <a:pt x="82549" y="144945"/>
                  </a:lnTo>
                  <a:lnTo>
                    <a:pt x="73833" y="144039"/>
                  </a:lnTo>
                  <a:lnTo>
                    <a:pt x="49174" y="113734"/>
                  </a:lnTo>
                  <a:lnTo>
                    <a:pt x="47078" y="92227"/>
                  </a:lnTo>
                  <a:lnTo>
                    <a:pt x="47078" y="88836"/>
                  </a:lnTo>
                  <a:lnTo>
                    <a:pt x="55460" y="50952"/>
                  </a:lnTo>
                  <a:lnTo>
                    <a:pt x="82232" y="36283"/>
                  </a:lnTo>
                  <a:lnTo>
                    <a:pt x="150996" y="36283"/>
                  </a:lnTo>
                  <a:lnTo>
                    <a:pt x="142773" y="24828"/>
                  </a:lnTo>
                  <a:lnTo>
                    <a:pt x="130795" y="13967"/>
                  </a:lnTo>
                  <a:lnTo>
                    <a:pt x="116712" y="6208"/>
                  </a:lnTo>
                  <a:lnTo>
                    <a:pt x="100525" y="1552"/>
                  </a:lnTo>
                  <a:lnTo>
                    <a:pt x="82232" y="0"/>
                  </a:lnTo>
                  <a:close/>
                </a:path>
                <a:path w="165100" h="181610">
                  <a:moveTo>
                    <a:pt x="150996" y="36283"/>
                  </a:moveTo>
                  <a:lnTo>
                    <a:pt x="82232" y="36283"/>
                  </a:lnTo>
                  <a:lnTo>
                    <a:pt x="90802" y="37198"/>
                  </a:lnTo>
                  <a:lnTo>
                    <a:pt x="98147" y="39946"/>
                  </a:lnTo>
                  <a:lnTo>
                    <a:pt x="117168" y="77768"/>
                  </a:lnTo>
                  <a:lnTo>
                    <a:pt x="117703" y="88836"/>
                  </a:lnTo>
                  <a:lnTo>
                    <a:pt x="117703" y="92227"/>
                  </a:lnTo>
                  <a:lnTo>
                    <a:pt x="109232" y="130441"/>
                  </a:lnTo>
                  <a:lnTo>
                    <a:pt x="82549" y="144945"/>
                  </a:lnTo>
                  <a:lnTo>
                    <a:pt x="150951" y="144945"/>
                  </a:lnTo>
                  <a:lnTo>
                    <a:pt x="152331" y="143026"/>
                  </a:lnTo>
                  <a:lnTo>
                    <a:pt x="159157" y="127917"/>
                  </a:lnTo>
                  <a:lnTo>
                    <a:pt x="163252" y="110984"/>
                  </a:lnTo>
                  <a:lnTo>
                    <a:pt x="164617" y="92227"/>
                  </a:lnTo>
                  <a:lnTo>
                    <a:pt x="164617" y="88836"/>
                  </a:lnTo>
                  <a:lnTo>
                    <a:pt x="163252" y="70148"/>
                  </a:lnTo>
                  <a:lnTo>
                    <a:pt x="159157" y="53251"/>
                  </a:lnTo>
                  <a:lnTo>
                    <a:pt x="152331" y="38144"/>
                  </a:lnTo>
                  <a:lnTo>
                    <a:pt x="150996" y="36283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0" name="object 123">
              <a:extLst>
                <a:ext uri="{FF2B5EF4-FFF2-40B4-BE49-F238E27FC236}">
                  <a16:creationId xmlns:a16="http://schemas.microsoft.com/office/drawing/2014/main" id="{B418474E-20BB-430F-A341-DB97FEC3085B}"/>
                </a:ext>
              </a:extLst>
            </p:cNvPr>
            <p:cNvSpPr/>
            <p:nvPr/>
          </p:nvSpPr>
          <p:spPr>
            <a:xfrm>
              <a:off x="3402215" y="3357042"/>
              <a:ext cx="178435" cy="174625"/>
            </a:xfrm>
            <a:custGeom>
              <a:avLst/>
              <a:gdLst/>
              <a:ahLst/>
              <a:cxnLst/>
              <a:rect l="l" t="t" r="r" b="b"/>
              <a:pathLst>
                <a:path w="178435" h="174625">
                  <a:moveTo>
                    <a:pt x="79159" y="0"/>
                  </a:moveTo>
                  <a:lnTo>
                    <a:pt x="0" y="0"/>
                  </a:lnTo>
                  <a:lnTo>
                    <a:pt x="0" y="28371"/>
                  </a:lnTo>
                  <a:lnTo>
                    <a:pt x="15151" y="30784"/>
                  </a:lnTo>
                  <a:lnTo>
                    <a:pt x="66738" y="174447"/>
                  </a:lnTo>
                  <a:lnTo>
                    <a:pt x="111721" y="174447"/>
                  </a:lnTo>
                  <a:lnTo>
                    <a:pt x="129095" y="125920"/>
                  </a:lnTo>
                  <a:lnTo>
                    <a:pt x="88836" y="125920"/>
                  </a:lnTo>
                  <a:lnTo>
                    <a:pt x="85775" y="109473"/>
                  </a:lnTo>
                  <a:lnTo>
                    <a:pt x="62712" y="31432"/>
                  </a:lnTo>
                  <a:lnTo>
                    <a:pt x="79159" y="28371"/>
                  </a:lnTo>
                  <a:lnTo>
                    <a:pt x="79159" y="0"/>
                  </a:lnTo>
                  <a:close/>
                </a:path>
                <a:path w="178435" h="174625">
                  <a:moveTo>
                    <a:pt x="178320" y="0"/>
                  </a:moveTo>
                  <a:lnTo>
                    <a:pt x="99148" y="0"/>
                  </a:lnTo>
                  <a:lnTo>
                    <a:pt x="99148" y="28371"/>
                  </a:lnTo>
                  <a:lnTo>
                    <a:pt x="115925" y="31597"/>
                  </a:lnTo>
                  <a:lnTo>
                    <a:pt x="93179" y="109473"/>
                  </a:lnTo>
                  <a:lnTo>
                    <a:pt x="89801" y="125920"/>
                  </a:lnTo>
                  <a:lnTo>
                    <a:pt x="129095" y="125920"/>
                  </a:lnTo>
                  <a:lnTo>
                    <a:pt x="163156" y="30784"/>
                  </a:lnTo>
                  <a:lnTo>
                    <a:pt x="178320" y="28371"/>
                  </a:lnTo>
                  <a:lnTo>
                    <a:pt x="178320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2" name="object 124">
              <a:extLst>
                <a:ext uri="{FF2B5EF4-FFF2-40B4-BE49-F238E27FC236}">
                  <a16:creationId xmlns:a16="http://schemas.microsoft.com/office/drawing/2014/main" id="{BABA182A-8632-40F6-B6C3-D893C319E9CF}"/>
                </a:ext>
              </a:extLst>
            </p:cNvPr>
            <p:cNvSpPr/>
            <p:nvPr/>
          </p:nvSpPr>
          <p:spPr>
            <a:xfrm>
              <a:off x="3594087" y="3353829"/>
              <a:ext cx="153035" cy="181610"/>
            </a:xfrm>
            <a:custGeom>
              <a:avLst/>
              <a:gdLst/>
              <a:ahLst/>
              <a:cxnLst/>
              <a:rect l="l" t="t" r="r" b="b"/>
              <a:pathLst>
                <a:path w="153035" h="181610">
                  <a:moveTo>
                    <a:pt x="78676" y="0"/>
                  </a:moveTo>
                  <a:lnTo>
                    <a:pt x="32952" y="13989"/>
                  </a:lnTo>
                  <a:lnTo>
                    <a:pt x="5337" y="53560"/>
                  </a:lnTo>
                  <a:lnTo>
                    <a:pt x="0" y="88988"/>
                  </a:lnTo>
                  <a:lnTo>
                    <a:pt x="0" y="95440"/>
                  </a:lnTo>
                  <a:lnTo>
                    <a:pt x="12692" y="143964"/>
                  </a:lnTo>
                  <a:lnTo>
                    <a:pt x="48931" y="175009"/>
                  </a:lnTo>
                  <a:lnTo>
                    <a:pt x="82867" y="181051"/>
                  </a:lnTo>
                  <a:lnTo>
                    <a:pt x="93183" y="180689"/>
                  </a:lnTo>
                  <a:lnTo>
                    <a:pt x="136742" y="168762"/>
                  </a:lnTo>
                  <a:lnTo>
                    <a:pt x="149136" y="160896"/>
                  </a:lnTo>
                  <a:lnTo>
                    <a:pt x="142134" y="144945"/>
                  </a:lnTo>
                  <a:lnTo>
                    <a:pt x="87871" y="144945"/>
                  </a:lnTo>
                  <a:lnTo>
                    <a:pt x="79539" y="144249"/>
                  </a:lnTo>
                  <a:lnTo>
                    <a:pt x="49732" y="113681"/>
                  </a:lnTo>
                  <a:lnTo>
                    <a:pt x="48526" y="105435"/>
                  </a:lnTo>
                  <a:lnTo>
                    <a:pt x="48844" y="104470"/>
                  </a:lnTo>
                  <a:lnTo>
                    <a:pt x="153009" y="104470"/>
                  </a:lnTo>
                  <a:lnTo>
                    <a:pt x="153009" y="78841"/>
                  </a:lnTo>
                  <a:lnTo>
                    <a:pt x="152620" y="73355"/>
                  </a:lnTo>
                  <a:lnTo>
                    <a:pt x="49174" y="73355"/>
                  </a:lnTo>
                  <a:lnTo>
                    <a:pt x="48691" y="72542"/>
                  </a:lnTo>
                  <a:lnTo>
                    <a:pt x="69964" y="36271"/>
                  </a:lnTo>
                  <a:lnTo>
                    <a:pt x="143574" y="36271"/>
                  </a:lnTo>
                  <a:lnTo>
                    <a:pt x="142026" y="32855"/>
                  </a:lnTo>
                  <a:lnTo>
                    <a:pt x="133489" y="21272"/>
                  </a:lnTo>
                  <a:lnTo>
                    <a:pt x="122749" y="11963"/>
                  </a:lnTo>
                  <a:lnTo>
                    <a:pt x="110035" y="5316"/>
                  </a:lnTo>
                  <a:lnTo>
                    <a:pt x="95345" y="1328"/>
                  </a:lnTo>
                  <a:lnTo>
                    <a:pt x="78676" y="0"/>
                  </a:lnTo>
                  <a:close/>
                </a:path>
                <a:path w="153035" h="181610">
                  <a:moveTo>
                    <a:pt x="136397" y="131876"/>
                  </a:moveTo>
                  <a:lnTo>
                    <a:pt x="95352" y="144749"/>
                  </a:lnTo>
                  <a:lnTo>
                    <a:pt x="87871" y="144945"/>
                  </a:lnTo>
                  <a:lnTo>
                    <a:pt x="142134" y="144945"/>
                  </a:lnTo>
                  <a:lnTo>
                    <a:pt x="136397" y="131876"/>
                  </a:lnTo>
                  <a:close/>
                </a:path>
                <a:path w="153035" h="181610">
                  <a:moveTo>
                    <a:pt x="143574" y="36271"/>
                  </a:moveTo>
                  <a:lnTo>
                    <a:pt x="88137" y="36271"/>
                  </a:lnTo>
                  <a:lnTo>
                    <a:pt x="95199" y="39242"/>
                  </a:lnTo>
                  <a:lnTo>
                    <a:pt x="104559" y="51180"/>
                  </a:lnTo>
                  <a:lnTo>
                    <a:pt x="106895" y="59169"/>
                  </a:lnTo>
                  <a:lnTo>
                    <a:pt x="106895" y="73355"/>
                  </a:lnTo>
                  <a:lnTo>
                    <a:pt x="152620" y="73355"/>
                  </a:lnTo>
                  <a:lnTo>
                    <a:pt x="151788" y="61636"/>
                  </a:lnTo>
                  <a:lnTo>
                    <a:pt x="148107" y="46266"/>
                  </a:lnTo>
                  <a:lnTo>
                    <a:pt x="143574" y="36271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4" name="object 125">
              <a:extLst>
                <a:ext uri="{FF2B5EF4-FFF2-40B4-BE49-F238E27FC236}">
                  <a16:creationId xmlns:a16="http://schemas.microsoft.com/office/drawing/2014/main" id="{409741CE-5CB4-4863-B686-D80DE58791BC}"/>
                </a:ext>
              </a:extLst>
            </p:cNvPr>
            <p:cNvSpPr/>
            <p:nvPr/>
          </p:nvSpPr>
          <p:spPr>
            <a:xfrm>
              <a:off x="3770464" y="3353816"/>
              <a:ext cx="123825" cy="177685"/>
            </a:xfrm>
            <a:prstGeom prst="rect">
              <a:avLst/>
            </a:prstGeom>
            <a:blipFill>
              <a:blip r:embed="rId5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6" name="object 126">
              <a:extLst>
                <a:ext uri="{FF2B5EF4-FFF2-40B4-BE49-F238E27FC236}">
                  <a16:creationId xmlns:a16="http://schemas.microsoft.com/office/drawing/2014/main" id="{FFD7D83C-8D71-49A5-B211-C08A96119D67}"/>
                </a:ext>
              </a:extLst>
            </p:cNvPr>
            <p:cNvSpPr/>
            <p:nvPr/>
          </p:nvSpPr>
          <p:spPr>
            <a:xfrm>
              <a:off x="3913797" y="3354146"/>
              <a:ext cx="143332" cy="180733"/>
            </a:xfrm>
            <a:prstGeom prst="rect">
              <a:avLst/>
            </a:prstGeom>
            <a:blipFill>
              <a:blip r:embed="rId7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48" name="object 127">
            <a:extLst>
              <a:ext uri="{FF2B5EF4-FFF2-40B4-BE49-F238E27FC236}">
                <a16:creationId xmlns:a16="http://schemas.microsoft.com/office/drawing/2014/main" id="{51273EF1-A05B-4DC8-9ED9-9B162666011C}"/>
              </a:ext>
            </a:extLst>
          </p:cNvPr>
          <p:cNvSpPr/>
          <p:nvPr/>
        </p:nvSpPr>
        <p:spPr>
          <a:xfrm>
            <a:off x="1338870" y="3527564"/>
            <a:ext cx="3179306" cy="13726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0" name="object 128">
            <a:extLst>
              <a:ext uri="{FF2B5EF4-FFF2-40B4-BE49-F238E27FC236}">
                <a16:creationId xmlns:a16="http://schemas.microsoft.com/office/drawing/2014/main" id="{14DC846E-FD93-44F7-8CB1-047767ABE0FB}"/>
              </a:ext>
            </a:extLst>
          </p:cNvPr>
          <p:cNvSpPr/>
          <p:nvPr/>
        </p:nvSpPr>
        <p:spPr>
          <a:xfrm>
            <a:off x="4535717" y="3654817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19"/>
                </a:moveTo>
                <a:lnTo>
                  <a:pt x="38722" y="7619"/>
                </a:lnTo>
                <a:lnTo>
                  <a:pt x="38722" y="0"/>
                </a:lnTo>
                <a:lnTo>
                  <a:pt x="0" y="0"/>
                </a:lnTo>
                <a:lnTo>
                  <a:pt x="0" y="7619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2" name="object 129">
            <a:extLst>
              <a:ext uri="{FF2B5EF4-FFF2-40B4-BE49-F238E27FC236}">
                <a16:creationId xmlns:a16="http://schemas.microsoft.com/office/drawing/2014/main" id="{B9FA37D3-42EC-4677-BDBC-933E58CB6B01}"/>
              </a:ext>
            </a:extLst>
          </p:cNvPr>
          <p:cNvSpPr/>
          <p:nvPr/>
        </p:nvSpPr>
        <p:spPr>
          <a:xfrm>
            <a:off x="4555076" y="3545598"/>
            <a:ext cx="0" cy="109220"/>
          </a:xfrm>
          <a:custGeom>
            <a:avLst/>
            <a:gdLst/>
            <a:ahLst/>
            <a:cxnLst/>
            <a:rect l="l" t="t" r="r" b="b"/>
            <a:pathLst>
              <a:path h="109220">
                <a:moveTo>
                  <a:pt x="0" y="0"/>
                </a:moveTo>
                <a:lnTo>
                  <a:pt x="0" y="109219"/>
                </a:lnTo>
              </a:path>
            </a:pathLst>
          </a:custGeom>
          <a:ln w="10426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4" name="object 130">
            <a:extLst>
              <a:ext uri="{FF2B5EF4-FFF2-40B4-BE49-F238E27FC236}">
                <a16:creationId xmlns:a16="http://schemas.microsoft.com/office/drawing/2014/main" id="{D00B73E1-C926-45D2-836E-7DF0EF47833C}"/>
              </a:ext>
            </a:extLst>
          </p:cNvPr>
          <p:cNvSpPr/>
          <p:nvPr/>
        </p:nvSpPr>
        <p:spPr>
          <a:xfrm>
            <a:off x="4543664" y="3544327"/>
            <a:ext cx="22860" cy="1270"/>
          </a:xfrm>
          <a:custGeom>
            <a:avLst/>
            <a:gdLst/>
            <a:ahLst/>
            <a:cxnLst/>
            <a:rect l="l" t="t" r="r" b="b"/>
            <a:pathLst>
              <a:path w="22860" h="1270">
                <a:moveTo>
                  <a:pt x="0" y="1270"/>
                </a:moveTo>
                <a:lnTo>
                  <a:pt x="22825" y="1270"/>
                </a:lnTo>
                <a:lnTo>
                  <a:pt x="22825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6" name="object 131">
            <a:extLst>
              <a:ext uri="{FF2B5EF4-FFF2-40B4-BE49-F238E27FC236}">
                <a16:creationId xmlns:a16="http://schemas.microsoft.com/office/drawing/2014/main" id="{98593575-1CFE-4EAF-BD9F-2170A3953C03}"/>
              </a:ext>
            </a:extLst>
          </p:cNvPr>
          <p:cNvSpPr/>
          <p:nvPr/>
        </p:nvSpPr>
        <p:spPr>
          <a:xfrm>
            <a:off x="4535717" y="3536707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20"/>
                </a:moveTo>
                <a:lnTo>
                  <a:pt x="38722" y="7620"/>
                </a:lnTo>
                <a:lnTo>
                  <a:pt x="38722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8" name="object 132">
            <a:extLst>
              <a:ext uri="{FF2B5EF4-FFF2-40B4-BE49-F238E27FC236}">
                <a16:creationId xmlns:a16="http://schemas.microsoft.com/office/drawing/2014/main" id="{FCF21322-7307-4515-94A3-BEFCB465C44C}"/>
              </a:ext>
            </a:extLst>
          </p:cNvPr>
          <p:cNvSpPr/>
          <p:nvPr/>
        </p:nvSpPr>
        <p:spPr>
          <a:xfrm>
            <a:off x="1599584" y="3792449"/>
            <a:ext cx="222425" cy="13907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0" name="object 133">
            <a:extLst>
              <a:ext uri="{FF2B5EF4-FFF2-40B4-BE49-F238E27FC236}">
                <a16:creationId xmlns:a16="http://schemas.microsoft.com/office/drawing/2014/main" id="{6D7203E4-AD9E-49BB-B5CB-A8DD0EE534B8}"/>
              </a:ext>
            </a:extLst>
          </p:cNvPr>
          <p:cNvSpPr/>
          <p:nvPr/>
        </p:nvSpPr>
        <p:spPr>
          <a:xfrm>
            <a:off x="1879138" y="3834028"/>
            <a:ext cx="75615" cy="13360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2" name="object 134">
            <a:extLst>
              <a:ext uri="{FF2B5EF4-FFF2-40B4-BE49-F238E27FC236}">
                <a16:creationId xmlns:a16="http://schemas.microsoft.com/office/drawing/2014/main" id="{302F6470-9428-4808-9832-AB207C096CD5}"/>
              </a:ext>
            </a:extLst>
          </p:cNvPr>
          <p:cNvSpPr/>
          <p:nvPr/>
        </p:nvSpPr>
        <p:spPr>
          <a:xfrm>
            <a:off x="1977673" y="3794276"/>
            <a:ext cx="477833" cy="13724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4" name="object 135">
            <a:extLst>
              <a:ext uri="{FF2B5EF4-FFF2-40B4-BE49-F238E27FC236}">
                <a16:creationId xmlns:a16="http://schemas.microsoft.com/office/drawing/2014/main" id="{4B584674-6B9F-4944-A175-9E9C58818869}"/>
              </a:ext>
            </a:extLst>
          </p:cNvPr>
          <p:cNvSpPr/>
          <p:nvPr/>
        </p:nvSpPr>
        <p:spPr>
          <a:xfrm>
            <a:off x="2475294" y="3915459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4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6" name="object 136">
            <a:extLst>
              <a:ext uri="{FF2B5EF4-FFF2-40B4-BE49-F238E27FC236}">
                <a16:creationId xmlns:a16="http://schemas.microsoft.com/office/drawing/2014/main" id="{33D83EAA-BD53-4AC4-9DB9-3CEA6E301DB2}"/>
              </a:ext>
            </a:extLst>
          </p:cNvPr>
          <p:cNvSpPr/>
          <p:nvPr/>
        </p:nvSpPr>
        <p:spPr>
          <a:xfrm>
            <a:off x="2551175" y="3792449"/>
            <a:ext cx="1999564" cy="17336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8" name="object 137">
            <a:extLst>
              <a:ext uri="{FF2B5EF4-FFF2-40B4-BE49-F238E27FC236}">
                <a16:creationId xmlns:a16="http://schemas.microsoft.com/office/drawing/2014/main" id="{EA1B60EA-2851-43AC-8D63-ED71B7F8A54E}"/>
              </a:ext>
            </a:extLst>
          </p:cNvPr>
          <p:cNvSpPr/>
          <p:nvPr/>
        </p:nvSpPr>
        <p:spPr>
          <a:xfrm>
            <a:off x="1341656" y="4059149"/>
            <a:ext cx="2562209" cy="17518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0" name="object 138">
            <a:extLst>
              <a:ext uri="{FF2B5EF4-FFF2-40B4-BE49-F238E27FC236}">
                <a16:creationId xmlns:a16="http://schemas.microsoft.com/office/drawing/2014/main" id="{5A8391C6-63EF-4EB1-960B-A34739982C56}"/>
              </a:ext>
            </a:extLst>
          </p:cNvPr>
          <p:cNvSpPr/>
          <p:nvPr/>
        </p:nvSpPr>
        <p:spPr>
          <a:xfrm>
            <a:off x="3920363" y="4189347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2" name="object 139">
            <a:extLst>
              <a:ext uri="{FF2B5EF4-FFF2-40B4-BE49-F238E27FC236}">
                <a16:creationId xmlns:a16="http://schemas.microsoft.com/office/drawing/2014/main" id="{591BBEF7-DC91-48A1-A1C8-E5E3FBBAA3D0}"/>
              </a:ext>
            </a:extLst>
          </p:cNvPr>
          <p:cNvSpPr/>
          <p:nvPr/>
        </p:nvSpPr>
        <p:spPr>
          <a:xfrm>
            <a:off x="3920999" y="4188078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70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4" name="object 140">
            <a:extLst>
              <a:ext uri="{FF2B5EF4-FFF2-40B4-BE49-F238E27FC236}">
                <a16:creationId xmlns:a16="http://schemas.microsoft.com/office/drawing/2014/main" id="{05E27918-4A11-42D0-AF74-800C703BAB07}"/>
              </a:ext>
            </a:extLst>
          </p:cNvPr>
          <p:cNvSpPr/>
          <p:nvPr/>
        </p:nvSpPr>
        <p:spPr>
          <a:xfrm>
            <a:off x="3939679" y="4069968"/>
            <a:ext cx="0" cy="118110"/>
          </a:xfrm>
          <a:custGeom>
            <a:avLst/>
            <a:gdLst/>
            <a:ahLst/>
            <a:cxnLst/>
            <a:rect l="l" t="t" r="r" b="b"/>
            <a:pathLst>
              <a:path h="118109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6" name="object 141">
            <a:extLst>
              <a:ext uri="{FF2B5EF4-FFF2-40B4-BE49-F238E27FC236}">
                <a16:creationId xmlns:a16="http://schemas.microsoft.com/office/drawing/2014/main" id="{428D4C3A-D6B7-45BF-A5B8-1FDE75C0FA08}"/>
              </a:ext>
            </a:extLst>
          </p:cNvPr>
          <p:cNvSpPr/>
          <p:nvPr/>
        </p:nvSpPr>
        <p:spPr>
          <a:xfrm>
            <a:off x="3928311" y="4068697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4" h="1270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8" name="object 142">
            <a:extLst>
              <a:ext uri="{FF2B5EF4-FFF2-40B4-BE49-F238E27FC236}">
                <a16:creationId xmlns:a16="http://schemas.microsoft.com/office/drawing/2014/main" id="{A673B741-1A89-4A05-8C33-5EEC289987DD}"/>
              </a:ext>
            </a:extLst>
          </p:cNvPr>
          <p:cNvSpPr/>
          <p:nvPr/>
        </p:nvSpPr>
        <p:spPr>
          <a:xfrm>
            <a:off x="3920363" y="4061078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20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0" name="object 143">
            <a:extLst>
              <a:ext uri="{FF2B5EF4-FFF2-40B4-BE49-F238E27FC236}">
                <a16:creationId xmlns:a16="http://schemas.microsoft.com/office/drawing/2014/main" id="{39F5F681-D44F-413B-9A1F-9C8B0B155A14}"/>
              </a:ext>
            </a:extLst>
          </p:cNvPr>
          <p:cNvSpPr/>
          <p:nvPr/>
        </p:nvSpPr>
        <p:spPr>
          <a:xfrm>
            <a:off x="3977055" y="4100727"/>
            <a:ext cx="68580" cy="97790"/>
          </a:xfrm>
          <a:custGeom>
            <a:avLst/>
            <a:gdLst/>
            <a:ahLst/>
            <a:cxnLst/>
            <a:rect l="l" t="t" r="r" b="b"/>
            <a:pathLst>
              <a:path w="68579" h="97790">
                <a:moveTo>
                  <a:pt x="8420" y="67462"/>
                </a:moveTo>
                <a:lnTo>
                  <a:pt x="0" y="67462"/>
                </a:lnTo>
                <a:lnTo>
                  <a:pt x="0" y="86385"/>
                </a:lnTo>
                <a:lnTo>
                  <a:pt x="4165" y="89915"/>
                </a:lnTo>
                <a:lnTo>
                  <a:pt x="9093" y="92646"/>
                </a:lnTo>
                <a:lnTo>
                  <a:pt x="20497" y="96532"/>
                </a:lnTo>
                <a:lnTo>
                  <a:pt x="26822" y="97497"/>
                </a:lnTo>
                <a:lnTo>
                  <a:pt x="33769" y="97497"/>
                </a:lnTo>
                <a:lnTo>
                  <a:pt x="60915" y="88722"/>
                </a:lnTo>
                <a:lnTo>
                  <a:pt x="29133" y="88722"/>
                </a:lnTo>
                <a:lnTo>
                  <a:pt x="24688" y="88112"/>
                </a:lnTo>
                <a:lnTo>
                  <a:pt x="16192" y="85610"/>
                </a:lnTo>
                <a:lnTo>
                  <a:pt x="12674" y="83604"/>
                </a:lnTo>
                <a:lnTo>
                  <a:pt x="9893" y="80822"/>
                </a:lnTo>
                <a:lnTo>
                  <a:pt x="8420" y="67462"/>
                </a:lnTo>
                <a:close/>
              </a:path>
              <a:path w="68579" h="97790">
                <a:moveTo>
                  <a:pt x="40131" y="0"/>
                </a:moveTo>
                <a:lnTo>
                  <a:pt x="23291" y="0"/>
                </a:lnTo>
                <a:lnTo>
                  <a:pt x="15278" y="2463"/>
                </a:lnTo>
                <a:lnTo>
                  <a:pt x="3124" y="12369"/>
                </a:lnTo>
                <a:lnTo>
                  <a:pt x="88" y="18427"/>
                </a:lnTo>
                <a:lnTo>
                  <a:pt x="88" y="32842"/>
                </a:lnTo>
                <a:lnTo>
                  <a:pt x="33070" y="52171"/>
                </a:lnTo>
                <a:lnTo>
                  <a:pt x="42506" y="54267"/>
                </a:lnTo>
                <a:lnTo>
                  <a:pt x="49034" y="56946"/>
                </a:lnTo>
                <a:lnTo>
                  <a:pt x="56260" y="63550"/>
                </a:lnTo>
                <a:lnTo>
                  <a:pt x="58077" y="67398"/>
                </a:lnTo>
                <a:lnTo>
                  <a:pt x="58077" y="76492"/>
                </a:lnTo>
                <a:lnTo>
                  <a:pt x="55905" y="80479"/>
                </a:lnTo>
                <a:lnTo>
                  <a:pt x="47218" y="87083"/>
                </a:lnTo>
                <a:lnTo>
                  <a:pt x="41287" y="88722"/>
                </a:lnTo>
                <a:lnTo>
                  <a:pt x="60915" y="88722"/>
                </a:lnTo>
                <a:lnTo>
                  <a:pt x="65239" y="85420"/>
                </a:lnTo>
                <a:lnTo>
                  <a:pt x="68402" y="79095"/>
                </a:lnTo>
                <a:lnTo>
                  <a:pt x="68402" y="63868"/>
                </a:lnTo>
                <a:lnTo>
                  <a:pt x="34988" y="43497"/>
                </a:lnTo>
                <a:lnTo>
                  <a:pt x="25209" y="41351"/>
                </a:lnTo>
                <a:lnTo>
                  <a:pt x="18668" y="38874"/>
                </a:lnTo>
                <a:lnTo>
                  <a:pt x="12141" y="33185"/>
                </a:lnTo>
                <a:lnTo>
                  <a:pt x="10502" y="29603"/>
                </a:lnTo>
                <a:lnTo>
                  <a:pt x="10502" y="20866"/>
                </a:lnTo>
                <a:lnTo>
                  <a:pt x="12395" y="17030"/>
                </a:lnTo>
                <a:lnTo>
                  <a:pt x="19977" y="10490"/>
                </a:lnTo>
                <a:lnTo>
                  <a:pt x="25666" y="8851"/>
                </a:lnTo>
                <a:lnTo>
                  <a:pt x="63185" y="8851"/>
                </a:lnTo>
                <a:lnTo>
                  <a:pt x="62471" y="8140"/>
                </a:lnTo>
                <a:lnTo>
                  <a:pt x="57823" y="5283"/>
                </a:lnTo>
                <a:lnTo>
                  <a:pt x="46431" y="1054"/>
                </a:lnTo>
                <a:lnTo>
                  <a:pt x="40131" y="0"/>
                </a:lnTo>
                <a:close/>
              </a:path>
              <a:path w="68579" h="97790">
                <a:moveTo>
                  <a:pt x="63185" y="8851"/>
                </a:moveTo>
                <a:lnTo>
                  <a:pt x="38404" y="8851"/>
                </a:lnTo>
                <a:lnTo>
                  <a:pt x="42951" y="9613"/>
                </a:lnTo>
                <a:lnTo>
                  <a:pt x="50888" y="12611"/>
                </a:lnTo>
                <a:lnTo>
                  <a:pt x="54165" y="14731"/>
                </a:lnTo>
                <a:lnTo>
                  <a:pt x="56768" y="17449"/>
                </a:lnTo>
                <a:lnTo>
                  <a:pt x="57988" y="30733"/>
                </a:lnTo>
                <a:lnTo>
                  <a:pt x="66497" y="30733"/>
                </a:lnTo>
                <a:lnTo>
                  <a:pt x="66065" y="11722"/>
                </a:lnTo>
                <a:lnTo>
                  <a:pt x="63185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2" name="object 144">
            <a:extLst>
              <a:ext uri="{FF2B5EF4-FFF2-40B4-BE49-F238E27FC236}">
                <a16:creationId xmlns:a16="http://schemas.microsoft.com/office/drawing/2014/main" id="{2EA6A34E-4DB7-4811-93D9-37761BC33886}"/>
              </a:ext>
            </a:extLst>
          </p:cNvPr>
          <p:cNvSpPr/>
          <p:nvPr/>
        </p:nvSpPr>
        <p:spPr>
          <a:xfrm>
            <a:off x="4068547" y="4182159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4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4" name="object 145">
            <a:extLst>
              <a:ext uri="{FF2B5EF4-FFF2-40B4-BE49-F238E27FC236}">
                <a16:creationId xmlns:a16="http://schemas.microsoft.com/office/drawing/2014/main" id="{6BE386FB-5C9E-4AD3-984D-F059EF5F5273}"/>
              </a:ext>
            </a:extLst>
          </p:cNvPr>
          <p:cNvSpPr/>
          <p:nvPr/>
        </p:nvSpPr>
        <p:spPr>
          <a:xfrm>
            <a:off x="4144873" y="4060977"/>
            <a:ext cx="410806" cy="17335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6" name="object 146">
            <a:extLst>
              <a:ext uri="{FF2B5EF4-FFF2-40B4-BE49-F238E27FC236}">
                <a16:creationId xmlns:a16="http://schemas.microsoft.com/office/drawing/2014/main" id="{F1514809-E03E-4A63-A38C-66B5A03277EC}"/>
              </a:ext>
            </a:extLst>
          </p:cNvPr>
          <p:cNvSpPr/>
          <p:nvPr/>
        </p:nvSpPr>
        <p:spPr>
          <a:xfrm>
            <a:off x="1688140" y="4327676"/>
            <a:ext cx="1885729" cy="17153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8" name="object 147">
            <a:extLst>
              <a:ext uri="{FF2B5EF4-FFF2-40B4-BE49-F238E27FC236}">
                <a16:creationId xmlns:a16="http://schemas.microsoft.com/office/drawing/2014/main" id="{88A69625-C935-43FE-B2BA-3E69439B8BD0}"/>
              </a:ext>
            </a:extLst>
          </p:cNvPr>
          <p:cNvSpPr/>
          <p:nvPr/>
        </p:nvSpPr>
        <p:spPr>
          <a:xfrm>
            <a:off x="3587851" y="4325849"/>
            <a:ext cx="978154" cy="13907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0" name="object 148">
            <a:extLst>
              <a:ext uri="{FF2B5EF4-FFF2-40B4-BE49-F238E27FC236}">
                <a16:creationId xmlns:a16="http://schemas.microsoft.com/office/drawing/2014/main" id="{E205173F-E3C5-4E20-AE09-94F5BB423D69}"/>
              </a:ext>
            </a:extLst>
          </p:cNvPr>
          <p:cNvSpPr/>
          <p:nvPr/>
        </p:nvSpPr>
        <p:spPr>
          <a:xfrm>
            <a:off x="1211951" y="4634128"/>
            <a:ext cx="1081820" cy="131787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2" name="object 149">
            <a:extLst>
              <a:ext uri="{FF2B5EF4-FFF2-40B4-BE49-F238E27FC236}">
                <a16:creationId xmlns:a16="http://schemas.microsoft.com/office/drawing/2014/main" id="{F46891BA-E87F-4A20-AA10-CF23884A4C7A}"/>
              </a:ext>
            </a:extLst>
          </p:cNvPr>
          <p:cNvSpPr/>
          <p:nvPr/>
        </p:nvSpPr>
        <p:spPr>
          <a:xfrm>
            <a:off x="2309139" y="4594364"/>
            <a:ext cx="3803154" cy="15982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4" name="object 150">
            <a:extLst>
              <a:ext uri="{FF2B5EF4-FFF2-40B4-BE49-F238E27FC236}">
                <a16:creationId xmlns:a16="http://schemas.microsoft.com/office/drawing/2014/main" id="{A0F58560-3DF1-49CF-8361-F23DD5DA8B53}"/>
              </a:ext>
            </a:extLst>
          </p:cNvPr>
          <p:cNvSpPr/>
          <p:nvPr/>
        </p:nvSpPr>
        <p:spPr>
          <a:xfrm>
            <a:off x="6135383" y="4715559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4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6" name="object 151">
            <a:extLst>
              <a:ext uri="{FF2B5EF4-FFF2-40B4-BE49-F238E27FC236}">
                <a16:creationId xmlns:a16="http://schemas.microsoft.com/office/drawing/2014/main" id="{029FA0F0-3FE7-43A6-B7E4-BD6991943DBF}"/>
              </a:ext>
            </a:extLst>
          </p:cNvPr>
          <p:cNvSpPr/>
          <p:nvPr/>
        </p:nvSpPr>
        <p:spPr>
          <a:xfrm>
            <a:off x="6211709" y="4594364"/>
            <a:ext cx="1468500" cy="13726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8" name="object 152">
            <a:extLst>
              <a:ext uri="{FF2B5EF4-FFF2-40B4-BE49-F238E27FC236}">
                <a16:creationId xmlns:a16="http://schemas.microsoft.com/office/drawing/2014/main" id="{D49A6595-A82F-4616-89BF-2832C07DF613}"/>
              </a:ext>
            </a:extLst>
          </p:cNvPr>
          <p:cNvSpPr/>
          <p:nvPr/>
        </p:nvSpPr>
        <p:spPr>
          <a:xfrm>
            <a:off x="1202834" y="4861076"/>
            <a:ext cx="1581906" cy="137248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0" name="object 153">
            <a:extLst>
              <a:ext uri="{FF2B5EF4-FFF2-40B4-BE49-F238E27FC236}">
                <a16:creationId xmlns:a16="http://schemas.microsoft.com/office/drawing/2014/main" id="{E07970A2-6E0C-46B1-B37F-352142544023}"/>
              </a:ext>
            </a:extLst>
          </p:cNvPr>
          <p:cNvSpPr/>
          <p:nvPr/>
        </p:nvSpPr>
        <p:spPr>
          <a:xfrm>
            <a:off x="2800604" y="4980178"/>
            <a:ext cx="18415" cy="41275"/>
          </a:xfrm>
          <a:custGeom>
            <a:avLst/>
            <a:gdLst/>
            <a:ahLst/>
            <a:cxnLst/>
            <a:rect l="l" t="t" r="r" b="b"/>
            <a:pathLst>
              <a:path w="18414" h="41275">
                <a:moveTo>
                  <a:pt x="18313" y="0"/>
                </a:moveTo>
                <a:lnTo>
                  <a:pt x="7988" y="0"/>
                </a:lnTo>
                <a:lnTo>
                  <a:pt x="7897" y="17475"/>
                </a:lnTo>
                <a:lnTo>
                  <a:pt x="7327" y="21069"/>
                </a:lnTo>
                <a:lnTo>
                  <a:pt x="4724" y="28587"/>
                </a:lnTo>
                <a:lnTo>
                  <a:pt x="2717" y="32385"/>
                </a:lnTo>
                <a:lnTo>
                  <a:pt x="0" y="36207"/>
                </a:lnTo>
                <a:lnTo>
                  <a:pt x="6159" y="40716"/>
                </a:lnTo>
                <a:lnTo>
                  <a:pt x="9918" y="37185"/>
                </a:lnTo>
                <a:lnTo>
                  <a:pt x="12890" y="32880"/>
                </a:lnTo>
                <a:lnTo>
                  <a:pt x="17233" y="22682"/>
                </a:lnTo>
                <a:lnTo>
                  <a:pt x="18313" y="17475"/>
                </a:lnTo>
                <a:lnTo>
                  <a:pt x="183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2" name="object 154">
            <a:extLst>
              <a:ext uri="{FF2B5EF4-FFF2-40B4-BE49-F238E27FC236}">
                <a16:creationId xmlns:a16="http://schemas.microsoft.com/office/drawing/2014/main" id="{69606D17-2CFA-4449-84D4-408D1F7E5323}"/>
              </a:ext>
            </a:extLst>
          </p:cNvPr>
          <p:cNvSpPr/>
          <p:nvPr/>
        </p:nvSpPr>
        <p:spPr>
          <a:xfrm>
            <a:off x="2879166" y="4878514"/>
            <a:ext cx="263664" cy="11981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4" name="object 155">
            <a:extLst>
              <a:ext uri="{FF2B5EF4-FFF2-40B4-BE49-F238E27FC236}">
                <a16:creationId xmlns:a16="http://schemas.microsoft.com/office/drawing/2014/main" id="{46CEF1C6-AD61-418E-AD9F-F48DD7F6FCCA}"/>
              </a:ext>
            </a:extLst>
          </p:cNvPr>
          <p:cNvSpPr/>
          <p:nvPr/>
        </p:nvSpPr>
        <p:spPr>
          <a:xfrm>
            <a:off x="3201607" y="4861179"/>
            <a:ext cx="357593" cy="173253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6" name="object 156">
            <a:extLst>
              <a:ext uri="{FF2B5EF4-FFF2-40B4-BE49-F238E27FC236}">
                <a16:creationId xmlns:a16="http://schemas.microsoft.com/office/drawing/2014/main" id="{8EB68BA7-E666-4E74-B2BE-4B082438D548}"/>
              </a:ext>
            </a:extLst>
          </p:cNvPr>
          <p:cNvSpPr/>
          <p:nvPr/>
        </p:nvSpPr>
        <p:spPr>
          <a:xfrm>
            <a:off x="3414052" y="4861064"/>
            <a:ext cx="4252353" cy="17336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8" name="object 157">
            <a:extLst>
              <a:ext uri="{FF2B5EF4-FFF2-40B4-BE49-F238E27FC236}">
                <a16:creationId xmlns:a16="http://schemas.microsoft.com/office/drawing/2014/main" id="{CD52F08C-7921-48E6-BB68-9B03032FC179}"/>
              </a:ext>
            </a:extLst>
          </p:cNvPr>
          <p:cNvSpPr/>
          <p:nvPr/>
        </p:nvSpPr>
        <p:spPr>
          <a:xfrm>
            <a:off x="1211249" y="5125949"/>
            <a:ext cx="3145358" cy="17336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0" name="object 158">
            <a:extLst>
              <a:ext uri="{FF2B5EF4-FFF2-40B4-BE49-F238E27FC236}">
                <a16:creationId xmlns:a16="http://schemas.microsoft.com/office/drawing/2014/main" id="{B2091077-8A11-46C1-9478-E2036C0606E2}"/>
              </a:ext>
            </a:extLst>
          </p:cNvPr>
          <p:cNvSpPr/>
          <p:nvPr/>
        </p:nvSpPr>
        <p:spPr>
          <a:xfrm>
            <a:off x="4368762" y="5256147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2" name="object 159">
            <a:extLst>
              <a:ext uri="{FF2B5EF4-FFF2-40B4-BE49-F238E27FC236}">
                <a16:creationId xmlns:a16="http://schemas.microsoft.com/office/drawing/2014/main" id="{5B2485BA-7C58-4ABF-98B6-FE095E621909}"/>
              </a:ext>
            </a:extLst>
          </p:cNvPr>
          <p:cNvSpPr/>
          <p:nvPr/>
        </p:nvSpPr>
        <p:spPr>
          <a:xfrm>
            <a:off x="4369398" y="5254878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70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4" name="object 160">
            <a:extLst>
              <a:ext uri="{FF2B5EF4-FFF2-40B4-BE49-F238E27FC236}">
                <a16:creationId xmlns:a16="http://schemas.microsoft.com/office/drawing/2014/main" id="{74327560-D5C4-4B11-AEFB-58CEBFA0A600}"/>
              </a:ext>
            </a:extLst>
          </p:cNvPr>
          <p:cNvSpPr/>
          <p:nvPr/>
        </p:nvSpPr>
        <p:spPr>
          <a:xfrm>
            <a:off x="4388078" y="5136768"/>
            <a:ext cx="0" cy="118110"/>
          </a:xfrm>
          <a:custGeom>
            <a:avLst/>
            <a:gdLst/>
            <a:ahLst/>
            <a:cxnLst/>
            <a:rect l="l" t="t" r="r" b="b"/>
            <a:pathLst>
              <a:path h="118109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6" name="object 161">
            <a:extLst>
              <a:ext uri="{FF2B5EF4-FFF2-40B4-BE49-F238E27FC236}">
                <a16:creationId xmlns:a16="http://schemas.microsoft.com/office/drawing/2014/main" id="{5CA3942C-45C2-4E6B-A937-F13F3D4AF8AF}"/>
              </a:ext>
            </a:extLst>
          </p:cNvPr>
          <p:cNvSpPr/>
          <p:nvPr/>
        </p:nvSpPr>
        <p:spPr>
          <a:xfrm>
            <a:off x="4376710" y="5135497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5" h="1270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8" name="object 162">
            <a:extLst>
              <a:ext uri="{FF2B5EF4-FFF2-40B4-BE49-F238E27FC236}">
                <a16:creationId xmlns:a16="http://schemas.microsoft.com/office/drawing/2014/main" id="{76065216-9DAB-44A1-8982-B9C0498BE63D}"/>
              </a:ext>
            </a:extLst>
          </p:cNvPr>
          <p:cNvSpPr/>
          <p:nvPr/>
        </p:nvSpPr>
        <p:spPr>
          <a:xfrm>
            <a:off x="4368762" y="5127878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20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0" name="object 163">
            <a:extLst>
              <a:ext uri="{FF2B5EF4-FFF2-40B4-BE49-F238E27FC236}">
                <a16:creationId xmlns:a16="http://schemas.microsoft.com/office/drawing/2014/main" id="{72B0E043-79AB-4E8E-87C2-020185845014}"/>
              </a:ext>
            </a:extLst>
          </p:cNvPr>
          <p:cNvSpPr/>
          <p:nvPr/>
        </p:nvSpPr>
        <p:spPr>
          <a:xfrm>
            <a:off x="4424249" y="5167527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90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4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90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90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1" name="object 164">
            <a:extLst>
              <a:ext uri="{FF2B5EF4-FFF2-40B4-BE49-F238E27FC236}">
                <a16:creationId xmlns:a16="http://schemas.microsoft.com/office/drawing/2014/main" id="{F2BCC544-75E6-4E03-8DE3-043C08E03D51}"/>
              </a:ext>
            </a:extLst>
          </p:cNvPr>
          <p:cNvSpPr/>
          <p:nvPr/>
        </p:nvSpPr>
        <p:spPr>
          <a:xfrm>
            <a:off x="4521136" y="5167528"/>
            <a:ext cx="68402" cy="97497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2" name="object 165">
            <a:extLst>
              <a:ext uri="{FF2B5EF4-FFF2-40B4-BE49-F238E27FC236}">
                <a16:creationId xmlns:a16="http://schemas.microsoft.com/office/drawing/2014/main" id="{9BD00EFA-4A91-416A-96DF-246C1EEF5E5B}"/>
              </a:ext>
            </a:extLst>
          </p:cNvPr>
          <p:cNvSpPr/>
          <p:nvPr/>
        </p:nvSpPr>
        <p:spPr>
          <a:xfrm>
            <a:off x="4648923" y="5127777"/>
            <a:ext cx="497116" cy="173355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3" name="object 166">
            <a:extLst>
              <a:ext uri="{FF2B5EF4-FFF2-40B4-BE49-F238E27FC236}">
                <a16:creationId xmlns:a16="http://schemas.microsoft.com/office/drawing/2014/main" id="{C5FFEFA4-FDFF-4205-AF09-09E8198F1272}"/>
              </a:ext>
            </a:extLst>
          </p:cNvPr>
          <p:cNvSpPr/>
          <p:nvPr/>
        </p:nvSpPr>
        <p:spPr>
          <a:xfrm>
            <a:off x="5196561" y="5127776"/>
            <a:ext cx="184569" cy="137248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4" name="object 167">
            <a:extLst>
              <a:ext uri="{FF2B5EF4-FFF2-40B4-BE49-F238E27FC236}">
                <a16:creationId xmlns:a16="http://schemas.microsoft.com/office/drawing/2014/main" id="{E472E4BB-66C7-4853-A6FA-F63699BA34FE}"/>
              </a:ext>
            </a:extLst>
          </p:cNvPr>
          <p:cNvSpPr/>
          <p:nvPr/>
        </p:nvSpPr>
        <p:spPr>
          <a:xfrm>
            <a:off x="5442953" y="5127764"/>
            <a:ext cx="450659" cy="173367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5" name="object 168">
            <a:extLst>
              <a:ext uri="{FF2B5EF4-FFF2-40B4-BE49-F238E27FC236}">
                <a16:creationId xmlns:a16="http://schemas.microsoft.com/office/drawing/2014/main" id="{E8BDE930-C5D5-4A20-8782-DCE506C8A1B8}"/>
              </a:ext>
            </a:extLst>
          </p:cNvPr>
          <p:cNvSpPr/>
          <p:nvPr/>
        </p:nvSpPr>
        <p:spPr>
          <a:xfrm>
            <a:off x="5961074" y="5127777"/>
            <a:ext cx="1716608" cy="173355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6" name="object 169">
            <a:extLst>
              <a:ext uri="{FF2B5EF4-FFF2-40B4-BE49-F238E27FC236}">
                <a16:creationId xmlns:a16="http://schemas.microsoft.com/office/drawing/2014/main" id="{450A6163-3A20-48E1-811E-11A1DA504972}"/>
              </a:ext>
            </a:extLst>
          </p:cNvPr>
          <p:cNvSpPr/>
          <p:nvPr/>
        </p:nvSpPr>
        <p:spPr>
          <a:xfrm>
            <a:off x="7594955" y="5127879"/>
            <a:ext cx="322516" cy="137147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7" name="object 170">
            <a:extLst>
              <a:ext uri="{FF2B5EF4-FFF2-40B4-BE49-F238E27FC236}">
                <a16:creationId xmlns:a16="http://schemas.microsoft.com/office/drawing/2014/main" id="{25908551-8016-4EF9-93A5-CB5454E9516F}"/>
              </a:ext>
            </a:extLst>
          </p:cNvPr>
          <p:cNvSpPr/>
          <p:nvPr/>
        </p:nvSpPr>
        <p:spPr>
          <a:xfrm>
            <a:off x="1211950" y="5392649"/>
            <a:ext cx="1347734" cy="139077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8" name="object 171">
            <a:extLst>
              <a:ext uri="{FF2B5EF4-FFF2-40B4-BE49-F238E27FC236}">
                <a16:creationId xmlns:a16="http://schemas.microsoft.com/office/drawing/2014/main" id="{168B8D71-EEA5-43DF-8E6F-1A2DF5E1F6BB}"/>
              </a:ext>
            </a:extLst>
          </p:cNvPr>
          <p:cNvSpPr/>
          <p:nvPr/>
        </p:nvSpPr>
        <p:spPr>
          <a:xfrm>
            <a:off x="2573147" y="5392649"/>
            <a:ext cx="1721739" cy="175183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9" name="object 172">
            <a:extLst>
              <a:ext uri="{FF2B5EF4-FFF2-40B4-BE49-F238E27FC236}">
                <a16:creationId xmlns:a16="http://schemas.microsoft.com/office/drawing/2014/main" id="{B6359ED7-5165-407F-A12B-C9E1CEEFEFE4}"/>
              </a:ext>
            </a:extLst>
          </p:cNvPr>
          <p:cNvSpPr/>
          <p:nvPr/>
        </p:nvSpPr>
        <p:spPr>
          <a:xfrm>
            <a:off x="4307040" y="5522847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0" name="object 173">
            <a:extLst>
              <a:ext uri="{FF2B5EF4-FFF2-40B4-BE49-F238E27FC236}">
                <a16:creationId xmlns:a16="http://schemas.microsoft.com/office/drawing/2014/main" id="{94DC141C-763E-4AFF-81D5-35AC2C4F9B30}"/>
              </a:ext>
            </a:extLst>
          </p:cNvPr>
          <p:cNvSpPr/>
          <p:nvPr/>
        </p:nvSpPr>
        <p:spPr>
          <a:xfrm>
            <a:off x="4307676" y="5521578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70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1" name="object 174">
            <a:extLst>
              <a:ext uri="{FF2B5EF4-FFF2-40B4-BE49-F238E27FC236}">
                <a16:creationId xmlns:a16="http://schemas.microsoft.com/office/drawing/2014/main" id="{5C3995C3-D636-41B7-9A3E-39A22D8DE210}"/>
              </a:ext>
            </a:extLst>
          </p:cNvPr>
          <p:cNvSpPr/>
          <p:nvPr/>
        </p:nvSpPr>
        <p:spPr>
          <a:xfrm>
            <a:off x="4326356" y="5403468"/>
            <a:ext cx="0" cy="118110"/>
          </a:xfrm>
          <a:custGeom>
            <a:avLst/>
            <a:gdLst/>
            <a:ahLst/>
            <a:cxnLst/>
            <a:rect l="l" t="t" r="r" b="b"/>
            <a:pathLst>
              <a:path h="118109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2" name="object 175">
            <a:extLst>
              <a:ext uri="{FF2B5EF4-FFF2-40B4-BE49-F238E27FC236}">
                <a16:creationId xmlns:a16="http://schemas.microsoft.com/office/drawing/2014/main" id="{EF90EC5C-D608-4A60-9CF0-1B2D24965B3D}"/>
              </a:ext>
            </a:extLst>
          </p:cNvPr>
          <p:cNvSpPr/>
          <p:nvPr/>
        </p:nvSpPr>
        <p:spPr>
          <a:xfrm>
            <a:off x="4314989" y="5402197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5" h="1270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3" name="object 176">
            <a:extLst>
              <a:ext uri="{FF2B5EF4-FFF2-40B4-BE49-F238E27FC236}">
                <a16:creationId xmlns:a16="http://schemas.microsoft.com/office/drawing/2014/main" id="{AE55A7D0-4EA9-46A7-8C65-AE2ED4BA29D0}"/>
              </a:ext>
            </a:extLst>
          </p:cNvPr>
          <p:cNvSpPr/>
          <p:nvPr/>
        </p:nvSpPr>
        <p:spPr>
          <a:xfrm>
            <a:off x="4307040" y="5394578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20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4" name="object 177">
            <a:extLst>
              <a:ext uri="{FF2B5EF4-FFF2-40B4-BE49-F238E27FC236}">
                <a16:creationId xmlns:a16="http://schemas.microsoft.com/office/drawing/2014/main" id="{9C576283-FB94-4FB9-9AB5-AFB29C7BEB63}"/>
              </a:ext>
            </a:extLst>
          </p:cNvPr>
          <p:cNvSpPr/>
          <p:nvPr/>
        </p:nvSpPr>
        <p:spPr>
          <a:xfrm>
            <a:off x="4362514" y="5434227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90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4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90">
                <a:moveTo>
                  <a:pt x="69189" y="78308"/>
                </a:moveTo>
                <a:lnTo>
                  <a:pt x="65951" y="81660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90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5" name="object 178">
            <a:extLst>
              <a:ext uri="{FF2B5EF4-FFF2-40B4-BE49-F238E27FC236}">
                <a16:creationId xmlns:a16="http://schemas.microsoft.com/office/drawing/2014/main" id="{8BE9F4D7-DC46-4DDA-B09B-0507828F6C0F}"/>
              </a:ext>
            </a:extLst>
          </p:cNvPr>
          <p:cNvSpPr/>
          <p:nvPr/>
        </p:nvSpPr>
        <p:spPr>
          <a:xfrm>
            <a:off x="4461917" y="5515659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4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object 180">
            <a:extLst>
              <a:ext uri="{FF2B5EF4-FFF2-40B4-BE49-F238E27FC236}">
                <a16:creationId xmlns:a16="http://schemas.microsoft.com/office/drawing/2014/main" id="{1E94108B-3BFB-45E4-8931-82C7CAE329CB}"/>
              </a:ext>
            </a:extLst>
          </p:cNvPr>
          <p:cNvSpPr/>
          <p:nvPr/>
        </p:nvSpPr>
        <p:spPr>
          <a:xfrm>
            <a:off x="4617414" y="390918"/>
            <a:ext cx="2255893" cy="407912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5899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E62A33-3465-56BE-C87F-EAEF6DC2AD59}"/>
              </a:ext>
            </a:extLst>
          </p:cNvPr>
          <p:cNvSpPr txBox="1"/>
          <p:nvPr/>
        </p:nvSpPr>
        <p:spPr>
          <a:xfrm>
            <a:off x="1526458" y="2772158"/>
            <a:ext cx="685308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en-US" sz="2000" b="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u don’t need a high-profile influencer for successful marketing, try to discover rising stars, or influencers in </a:t>
            </a:r>
            <a:br>
              <a:rPr lang="en-US" sz="2000" b="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your niche.</a:t>
            </a:r>
            <a:endParaRPr lang="en-AE" sz="2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164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A70D367-89E8-4D25-8B85-16FE04901093}"/>
              </a:ext>
            </a:extLst>
          </p:cNvPr>
          <p:cNvGrpSpPr/>
          <p:nvPr/>
        </p:nvGrpSpPr>
        <p:grpSpPr>
          <a:xfrm>
            <a:off x="2077189" y="632804"/>
            <a:ext cx="5751622" cy="5592392"/>
            <a:chOff x="499016" y="2783116"/>
            <a:chExt cx="7083644" cy="6887538"/>
          </a:xfrm>
        </p:grpSpPr>
        <p:sp>
          <p:nvSpPr>
            <p:cNvPr id="3" name="object 80">
              <a:extLst>
                <a:ext uri="{FF2B5EF4-FFF2-40B4-BE49-F238E27FC236}">
                  <a16:creationId xmlns:a16="http://schemas.microsoft.com/office/drawing/2014/main" id="{FDA46BB2-0C00-4FF1-A7F1-1D12DA7FCC28}"/>
                </a:ext>
              </a:extLst>
            </p:cNvPr>
            <p:cNvSpPr/>
            <p:nvPr/>
          </p:nvSpPr>
          <p:spPr>
            <a:xfrm>
              <a:off x="780652" y="2798597"/>
              <a:ext cx="193675" cy="217170"/>
            </a:xfrm>
            <a:custGeom>
              <a:avLst/>
              <a:gdLst/>
              <a:ahLst/>
              <a:cxnLst/>
              <a:rect l="l" t="t" r="r" b="b"/>
              <a:pathLst>
                <a:path w="193675" h="217169">
                  <a:moveTo>
                    <a:pt x="118173" y="33489"/>
                  </a:moveTo>
                  <a:lnTo>
                    <a:pt x="74714" y="33489"/>
                  </a:lnTo>
                  <a:lnTo>
                    <a:pt x="74714" y="186182"/>
                  </a:lnTo>
                  <a:lnTo>
                    <a:pt x="51498" y="190652"/>
                  </a:lnTo>
                  <a:lnTo>
                    <a:pt x="51498" y="216687"/>
                  </a:lnTo>
                  <a:lnTo>
                    <a:pt x="141389" y="216687"/>
                  </a:lnTo>
                  <a:lnTo>
                    <a:pt x="141389" y="190652"/>
                  </a:lnTo>
                  <a:lnTo>
                    <a:pt x="118173" y="186182"/>
                  </a:lnTo>
                  <a:lnTo>
                    <a:pt x="118173" y="33489"/>
                  </a:lnTo>
                  <a:close/>
                </a:path>
                <a:path w="193675" h="217169">
                  <a:moveTo>
                    <a:pt x="193179" y="0"/>
                  </a:moveTo>
                  <a:lnTo>
                    <a:pt x="0" y="0"/>
                  </a:lnTo>
                  <a:lnTo>
                    <a:pt x="0" y="57746"/>
                  </a:lnTo>
                  <a:lnTo>
                    <a:pt x="33185" y="57746"/>
                  </a:lnTo>
                  <a:lnTo>
                    <a:pt x="34975" y="33489"/>
                  </a:lnTo>
                  <a:lnTo>
                    <a:pt x="193179" y="33489"/>
                  </a:lnTo>
                  <a:lnTo>
                    <a:pt x="193179" y="0"/>
                  </a:lnTo>
                  <a:close/>
                </a:path>
                <a:path w="193675" h="217169">
                  <a:moveTo>
                    <a:pt x="193179" y="33489"/>
                  </a:moveTo>
                  <a:lnTo>
                    <a:pt x="158051" y="33489"/>
                  </a:lnTo>
                  <a:lnTo>
                    <a:pt x="159842" y="57746"/>
                  </a:lnTo>
                  <a:lnTo>
                    <a:pt x="193179" y="57746"/>
                  </a:lnTo>
                  <a:lnTo>
                    <a:pt x="193179" y="33489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" name="object 81">
              <a:extLst>
                <a:ext uri="{FF2B5EF4-FFF2-40B4-BE49-F238E27FC236}">
                  <a16:creationId xmlns:a16="http://schemas.microsoft.com/office/drawing/2014/main" id="{09CDC7F9-EAB1-4A24-9A30-B53F9DE61373}"/>
                </a:ext>
              </a:extLst>
            </p:cNvPr>
            <p:cNvSpPr/>
            <p:nvPr/>
          </p:nvSpPr>
          <p:spPr>
            <a:xfrm>
              <a:off x="984396" y="2783128"/>
              <a:ext cx="184785" cy="232410"/>
            </a:xfrm>
            <a:custGeom>
              <a:avLst/>
              <a:gdLst/>
              <a:ahLst/>
              <a:cxnLst/>
              <a:rect l="l" t="t" r="r" b="b"/>
              <a:pathLst>
                <a:path w="184784" h="232410">
                  <a:moveTo>
                    <a:pt x="66522" y="0"/>
                  </a:moveTo>
                  <a:lnTo>
                    <a:pt x="0" y="0"/>
                  </a:lnTo>
                  <a:lnTo>
                    <a:pt x="0" y="26187"/>
                  </a:lnTo>
                  <a:lnTo>
                    <a:pt x="23215" y="30657"/>
                  </a:lnTo>
                  <a:lnTo>
                    <a:pt x="23215" y="201650"/>
                  </a:lnTo>
                  <a:lnTo>
                    <a:pt x="2235" y="206121"/>
                  </a:lnTo>
                  <a:lnTo>
                    <a:pt x="2235" y="232168"/>
                  </a:lnTo>
                  <a:lnTo>
                    <a:pt x="85280" y="232168"/>
                  </a:lnTo>
                  <a:lnTo>
                    <a:pt x="85280" y="206121"/>
                  </a:lnTo>
                  <a:lnTo>
                    <a:pt x="66522" y="201650"/>
                  </a:lnTo>
                  <a:lnTo>
                    <a:pt x="66597" y="114344"/>
                  </a:lnTo>
                  <a:lnTo>
                    <a:pt x="69608" y="110477"/>
                  </a:lnTo>
                  <a:lnTo>
                    <a:pt x="73406" y="107403"/>
                  </a:lnTo>
                  <a:lnTo>
                    <a:pt x="82423" y="103035"/>
                  </a:lnTo>
                  <a:lnTo>
                    <a:pt x="87706" y="101942"/>
                  </a:lnTo>
                  <a:lnTo>
                    <a:pt x="158351" y="101942"/>
                  </a:lnTo>
                  <a:lnTo>
                    <a:pt x="155483" y="94410"/>
                  </a:lnTo>
                  <a:lnTo>
                    <a:pt x="153672" y="91668"/>
                  </a:lnTo>
                  <a:lnTo>
                    <a:pt x="66522" y="91668"/>
                  </a:lnTo>
                  <a:lnTo>
                    <a:pt x="66522" y="0"/>
                  </a:lnTo>
                  <a:close/>
                </a:path>
                <a:path w="184784" h="232410">
                  <a:moveTo>
                    <a:pt x="158351" y="101942"/>
                  </a:moveTo>
                  <a:lnTo>
                    <a:pt x="102501" y="101942"/>
                  </a:lnTo>
                  <a:lnTo>
                    <a:pt x="109067" y="104546"/>
                  </a:lnTo>
                  <a:lnTo>
                    <a:pt x="113487" y="109753"/>
                  </a:lnTo>
                  <a:lnTo>
                    <a:pt x="116380" y="114344"/>
                  </a:lnTo>
                  <a:lnTo>
                    <a:pt x="118448" y="120303"/>
                  </a:lnTo>
                  <a:lnTo>
                    <a:pt x="119689" y="127630"/>
                  </a:lnTo>
                  <a:lnTo>
                    <a:pt x="120103" y="136321"/>
                  </a:lnTo>
                  <a:lnTo>
                    <a:pt x="120103" y="201650"/>
                  </a:lnTo>
                  <a:lnTo>
                    <a:pt x="101358" y="206121"/>
                  </a:lnTo>
                  <a:lnTo>
                    <a:pt x="101358" y="232168"/>
                  </a:lnTo>
                  <a:lnTo>
                    <a:pt x="184404" y="232168"/>
                  </a:lnTo>
                  <a:lnTo>
                    <a:pt x="184404" y="206121"/>
                  </a:lnTo>
                  <a:lnTo>
                    <a:pt x="163563" y="201650"/>
                  </a:lnTo>
                  <a:lnTo>
                    <a:pt x="163547" y="136321"/>
                  </a:lnTo>
                  <a:lnTo>
                    <a:pt x="162665" y="120266"/>
                  </a:lnTo>
                  <a:lnTo>
                    <a:pt x="159972" y="106198"/>
                  </a:lnTo>
                  <a:lnTo>
                    <a:pt x="158351" y="101942"/>
                  </a:lnTo>
                  <a:close/>
                </a:path>
                <a:path w="184784" h="232410">
                  <a:moveTo>
                    <a:pt x="109537" y="68160"/>
                  </a:moveTo>
                  <a:lnTo>
                    <a:pt x="100609" y="68160"/>
                  </a:lnTo>
                  <a:lnTo>
                    <a:pt x="92468" y="70218"/>
                  </a:lnTo>
                  <a:lnTo>
                    <a:pt x="66522" y="91668"/>
                  </a:lnTo>
                  <a:lnTo>
                    <a:pt x="153672" y="91668"/>
                  </a:lnTo>
                  <a:lnTo>
                    <a:pt x="121503" y="69206"/>
                  </a:lnTo>
                  <a:lnTo>
                    <a:pt x="109537" y="6816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" name="object 82">
              <a:extLst>
                <a:ext uri="{FF2B5EF4-FFF2-40B4-BE49-F238E27FC236}">
                  <a16:creationId xmlns:a16="http://schemas.microsoft.com/office/drawing/2014/main" id="{BB349658-E6A9-4CC6-9EC4-9BB8655BF65A}"/>
                </a:ext>
              </a:extLst>
            </p:cNvPr>
            <p:cNvSpPr/>
            <p:nvPr/>
          </p:nvSpPr>
          <p:spPr>
            <a:xfrm>
              <a:off x="1181891" y="2851289"/>
              <a:ext cx="141605" cy="167640"/>
            </a:xfrm>
            <a:custGeom>
              <a:avLst/>
              <a:gdLst/>
              <a:ahLst/>
              <a:cxnLst/>
              <a:rect l="l" t="t" r="r" b="b"/>
              <a:pathLst>
                <a:path w="141605" h="167639">
                  <a:moveTo>
                    <a:pt x="72631" y="0"/>
                  </a:moveTo>
                  <a:lnTo>
                    <a:pt x="30424" y="12924"/>
                  </a:lnTo>
                  <a:lnTo>
                    <a:pt x="4932" y="49449"/>
                  </a:lnTo>
                  <a:lnTo>
                    <a:pt x="0" y="82156"/>
                  </a:lnTo>
                  <a:lnTo>
                    <a:pt x="0" y="88112"/>
                  </a:lnTo>
                  <a:lnTo>
                    <a:pt x="11722" y="132900"/>
                  </a:lnTo>
                  <a:lnTo>
                    <a:pt x="45177" y="161556"/>
                  </a:lnTo>
                  <a:lnTo>
                    <a:pt x="76504" y="167131"/>
                  </a:lnTo>
                  <a:lnTo>
                    <a:pt x="86022" y="166798"/>
                  </a:lnTo>
                  <a:lnTo>
                    <a:pt x="126230" y="155790"/>
                  </a:lnTo>
                  <a:lnTo>
                    <a:pt x="137667" y="148539"/>
                  </a:lnTo>
                  <a:lnTo>
                    <a:pt x="131197" y="133794"/>
                  </a:lnTo>
                  <a:lnTo>
                    <a:pt x="81114" y="133794"/>
                  </a:lnTo>
                  <a:lnTo>
                    <a:pt x="73425" y="133153"/>
                  </a:lnTo>
                  <a:lnTo>
                    <a:pt x="45912" y="104943"/>
                  </a:lnTo>
                  <a:lnTo>
                    <a:pt x="44805" y="97332"/>
                  </a:lnTo>
                  <a:lnTo>
                    <a:pt x="45097" y="96443"/>
                  </a:lnTo>
                  <a:lnTo>
                    <a:pt x="141236" y="96443"/>
                  </a:lnTo>
                  <a:lnTo>
                    <a:pt x="141236" y="72783"/>
                  </a:lnTo>
                  <a:lnTo>
                    <a:pt x="140877" y="67716"/>
                  </a:lnTo>
                  <a:lnTo>
                    <a:pt x="45389" y="67716"/>
                  </a:lnTo>
                  <a:lnTo>
                    <a:pt x="44945" y="66979"/>
                  </a:lnTo>
                  <a:lnTo>
                    <a:pt x="64592" y="33489"/>
                  </a:lnTo>
                  <a:lnTo>
                    <a:pt x="132540" y="33489"/>
                  </a:lnTo>
                  <a:lnTo>
                    <a:pt x="131110" y="30333"/>
                  </a:lnTo>
                  <a:lnTo>
                    <a:pt x="123228" y="19646"/>
                  </a:lnTo>
                  <a:lnTo>
                    <a:pt x="113314" y="11053"/>
                  </a:lnTo>
                  <a:lnTo>
                    <a:pt x="101577" y="4913"/>
                  </a:lnTo>
                  <a:lnTo>
                    <a:pt x="88016" y="1228"/>
                  </a:lnTo>
                  <a:lnTo>
                    <a:pt x="72631" y="0"/>
                  </a:lnTo>
                  <a:close/>
                </a:path>
                <a:path w="141605" h="167639">
                  <a:moveTo>
                    <a:pt x="125907" y="121742"/>
                  </a:moveTo>
                  <a:lnTo>
                    <a:pt x="118376" y="125907"/>
                  </a:lnTo>
                  <a:lnTo>
                    <a:pt x="111429" y="128968"/>
                  </a:lnTo>
                  <a:lnTo>
                    <a:pt x="98729" y="132829"/>
                  </a:lnTo>
                  <a:lnTo>
                    <a:pt x="90741" y="133794"/>
                  </a:lnTo>
                  <a:lnTo>
                    <a:pt x="131197" y="133794"/>
                  </a:lnTo>
                  <a:lnTo>
                    <a:pt x="125907" y="121742"/>
                  </a:lnTo>
                  <a:close/>
                </a:path>
                <a:path w="141605" h="167639">
                  <a:moveTo>
                    <a:pt x="132540" y="33489"/>
                  </a:moveTo>
                  <a:lnTo>
                    <a:pt x="81356" y="33489"/>
                  </a:lnTo>
                  <a:lnTo>
                    <a:pt x="87883" y="36245"/>
                  </a:lnTo>
                  <a:lnTo>
                    <a:pt x="96519" y="47256"/>
                  </a:lnTo>
                  <a:lnTo>
                    <a:pt x="98678" y="54622"/>
                  </a:lnTo>
                  <a:lnTo>
                    <a:pt x="98678" y="67716"/>
                  </a:lnTo>
                  <a:lnTo>
                    <a:pt x="140877" y="67716"/>
                  </a:lnTo>
                  <a:lnTo>
                    <a:pt x="140112" y="56903"/>
                  </a:lnTo>
                  <a:lnTo>
                    <a:pt x="136724" y="42722"/>
                  </a:lnTo>
                  <a:lnTo>
                    <a:pt x="132540" y="33489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" name="object 83">
              <a:extLst>
                <a:ext uri="{FF2B5EF4-FFF2-40B4-BE49-F238E27FC236}">
                  <a16:creationId xmlns:a16="http://schemas.microsoft.com/office/drawing/2014/main" id="{3068C5EB-0451-44FA-B8BF-15FD53B07C56}"/>
                </a:ext>
              </a:extLst>
            </p:cNvPr>
            <p:cNvSpPr/>
            <p:nvPr/>
          </p:nvSpPr>
          <p:spPr>
            <a:xfrm>
              <a:off x="1344714" y="2851289"/>
              <a:ext cx="266242" cy="167132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" name="object 84">
              <a:extLst>
                <a:ext uri="{FF2B5EF4-FFF2-40B4-BE49-F238E27FC236}">
                  <a16:creationId xmlns:a16="http://schemas.microsoft.com/office/drawing/2014/main" id="{A6DC1264-47BD-4D37-94D4-9A69194E501F}"/>
                </a:ext>
              </a:extLst>
            </p:cNvPr>
            <p:cNvSpPr/>
            <p:nvPr/>
          </p:nvSpPr>
          <p:spPr>
            <a:xfrm>
              <a:off x="1707857" y="2851289"/>
              <a:ext cx="433082" cy="16713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5">
              <a:extLst>
                <a:ext uri="{FF2B5EF4-FFF2-40B4-BE49-F238E27FC236}">
                  <a16:creationId xmlns:a16="http://schemas.microsoft.com/office/drawing/2014/main" id="{660F44E2-0E08-43AE-8C1A-76E1E56DA6A6}"/>
                </a:ext>
              </a:extLst>
            </p:cNvPr>
            <p:cNvSpPr/>
            <p:nvPr/>
          </p:nvSpPr>
          <p:spPr>
            <a:xfrm>
              <a:off x="2272652" y="2795473"/>
              <a:ext cx="149872" cy="22293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86">
              <a:extLst>
                <a:ext uri="{FF2B5EF4-FFF2-40B4-BE49-F238E27FC236}">
                  <a16:creationId xmlns:a16="http://schemas.microsoft.com/office/drawing/2014/main" id="{42590640-AE5A-4BE7-B849-F883CED6BDDB}"/>
                </a:ext>
              </a:extLst>
            </p:cNvPr>
            <p:cNvSpPr/>
            <p:nvPr/>
          </p:nvSpPr>
          <p:spPr>
            <a:xfrm>
              <a:off x="3332467" y="2814827"/>
              <a:ext cx="100330" cy="203835"/>
            </a:xfrm>
            <a:custGeom>
              <a:avLst/>
              <a:gdLst/>
              <a:ahLst/>
              <a:cxnLst/>
              <a:rect l="l" t="t" r="r" b="b"/>
              <a:pathLst>
                <a:path w="100329" h="203835">
                  <a:moveTo>
                    <a:pt x="66967" y="69951"/>
                  </a:moveTo>
                  <a:lnTo>
                    <a:pt x="23660" y="69951"/>
                  </a:lnTo>
                  <a:lnTo>
                    <a:pt x="23660" y="152107"/>
                  </a:lnTo>
                  <a:lnTo>
                    <a:pt x="35788" y="191249"/>
                  </a:lnTo>
                  <a:lnTo>
                    <a:pt x="70396" y="203593"/>
                  </a:lnTo>
                  <a:lnTo>
                    <a:pt x="75946" y="203593"/>
                  </a:lnTo>
                  <a:lnTo>
                    <a:pt x="81102" y="203225"/>
                  </a:lnTo>
                  <a:lnTo>
                    <a:pt x="90627" y="201739"/>
                  </a:lnTo>
                  <a:lnTo>
                    <a:pt x="95440" y="200621"/>
                  </a:lnTo>
                  <a:lnTo>
                    <a:pt x="100304" y="199136"/>
                  </a:lnTo>
                  <a:lnTo>
                    <a:pt x="96777" y="169367"/>
                  </a:lnTo>
                  <a:lnTo>
                    <a:pt x="76885" y="169367"/>
                  </a:lnTo>
                  <a:lnTo>
                    <a:pt x="73418" y="168021"/>
                  </a:lnTo>
                  <a:lnTo>
                    <a:pt x="68262" y="162674"/>
                  </a:lnTo>
                  <a:lnTo>
                    <a:pt x="66967" y="158203"/>
                  </a:lnTo>
                  <a:lnTo>
                    <a:pt x="66967" y="69951"/>
                  </a:lnTo>
                  <a:close/>
                </a:path>
                <a:path w="100329" h="203835">
                  <a:moveTo>
                    <a:pt x="96583" y="167728"/>
                  </a:moveTo>
                  <a:lnTo>
                    <a:pt x="93802" y="168325"/>
                  </a:lnTo>
                  <a:lnTo>
                    <a:pt x="91300" y="168744"/>
                  </a:lnTo>
                  <a:lnTo>
                    <a:pt x="86829" y="169240"/>
                  </a:lnTo>
                  <a:lnTo>
                    <a:pt x="84226" y="169367"/>
                  </a:lnTo>
                  <a:lnTo>
                    <a:pt x="96777" y="169367"/>
                  </a:lnTo>
                  <a:lnTo>
                    <a:pt x="96583" y="167728"/>
                  </a:lnTo>
                  <a:close/>
                </a:path>
                <a:path w="100329" h="203835">
                  <a:moveTo>
                    <a:pt x="95250" y="39433"/>
                  </a:moveTo>
                  <a:lnTo>
                    <a:pt x="0" y="39433"/>
                  </a:lnTo>
                  <a:lnTo>
                    <a:pt x="0" y="69951"/>
                  </a:lnTo>
                  <a:lnTo>
                    <a:pt x="95250" y="69951"/>
                  </a:lnTo>
                  <a:lnTo>
                    <a:pt x="95250" y="39433"/>
                  </a:lnTo>
                  <a:close/>
                </a:path>
                <a:path w="100329" h="203835">
                  <a:moveTo>
                    <a:pt x="66967" y="0"/>
                  </a:moveTo>
                  <a:lnTo>
                    <a:pt x="23660" y="0"/>
                  </a:lnTo>
                  <a:lnTo>
                    <a:pt x="23660" y="39433"/>
                  </a:lnTo>
                  <a:lnTo>
                    <a:pt x="66967" y="39433"/>
                  </a:lnTo>
                  <a:lnTo>
                    <a:pt x="66967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" name="object 87">
              <a:extLst>
                <a:ext uri="{FF2B5EF4-FFF2-40B4-BE49-F238E27FC236}">
                  <a16:creationId xmlns:a16="http://schemas.microsoft.com/office/drawing/2014/main" id="{CFB85726-BC32-4734-A85C-48AA49FFCC0D}"/>
                </a:ext>
              </a:extLst>
            </p:cNvPr>
            <p:cNvSpPr/>
            <p:nvPr/>
          </p:nvSpPr>
          <p:spPr>
            <a:xfrm>
              <a:off x="3444379" y="2783128"/>
              <a:ext cx="184785" cy="232410"/>
            </a:xfrm>
            <a:custGeom>
              <a:avLst/>
              <a:gdLst/>
              <a:ahLst/>
              <a:cxnLst/>
              <a:rect l="l" t="t" r="r" b="b"/>
              <a:pathLst>
                <a:path w="184785" h="232410">
                  <a:moveTo>
                    <a:pt x="66522" y="0"/>
                  </a:moveTo>
                  <a:lnTo>
                    <a:pt x="0" y="0"/>
                  </a:lnTo>
                  <a:lnTo>
                    <a:pt x="0" y="26187"/>
                  </a:lnTo>
                  <a:lnTo>
                    <a:pt x="23215" y="30657"/>
                  </a:lnTo>
                  <a:lnTo>
                    <a:pt x="23215" y="201650"/>
                  </a:lnTo>
                  <a:lnTo>
                    <a:pt x="2235" y="206121"/>
                  </a:lnTo>
                  <a:lnTo>
                    <a:pt x="2235" y="232168"/>
                  </a:lnTo>
                  <a:lnTo>
                    <a:pt x="85280" y="232168"/>
                  </a:lnTo>
                  <a:lnTo>
                    <a:pt x="85280" y="206121"/>
                  </a:lnTo>
                  <a:lnTo>
                    <a:pt x="66522" y="201650"/>
                  </a:lnTo>
                  <a:lnTo>
                    <a:pt x="66597" y="114344"/>
                  </a:lnTo>
                  <a:lnTo>
                    <a:pt x="69608" y="110477"/>
                  </a:lnTo>
                  <a:lnTo>
                    <a:pt x="73405" y="107403"/>
                  </a:lnTo>
                  <a:lnTo>
                    <a:pt x="82422" y="103035"/>
                  </a:lnTo>
                  <a:lnTo>
                    <a:pt x="87706" y="101942"/>
                  </a:lnTo>
                  <a:lnTo>
                    <a:pt x="158351" y="101942"/>
                  </a:lnTo>
                  <a:lnTo>
                    <a:pt x="155483" y="94410"/>
                  </a:lnTo>
                  <a:lnTo>
                    <a:pt x="153672" y="91668"/>
                  </a:lnTo>
                  <a:lnTo>
                    <a:pt x="66522" y="91668"/>
                  </a:lnTo>
                  <a:lnTo>
                    <a:pt x="66522" y="0"/>
                  </a:lnTo>
                  <a:close/>
                </a:path>
                <a:path w="184785" h="232410">
                  <a:moveTo>
                    <a:pt x="158351" y="101942"/>
                  </a:moveTo>
                  <a:lnTo>
                    <a:pt x="102501" y="101942"/>
                  </a:lnTo>
                  <a:lnTo>
                    <a:pt x="109067" y="104546"/>
                  </a:lnTo>
                  <a:lnTo>
                    <a:pt x="113487" y="109753"/>
                  </a:lnTo>
                  <a:lnTo>
                    <a:pt x="116380" y="114344"/>
                  </a:lnTo>
                  <a:lnTo>
                    <a:pt x="118448" y="120303"/>
                  </a:lnTo>
                  <a:lnTo>
                    <a:pt x="119689" y="127630"/>
                  </a:lnTo>
                  <a:lnTo>
                    <a:pt x="120103" y="136321"/>
                  </a:lnTo>
                  <a:lnTo>
                    <a:pt x="120103" y="201650"/>
                  </a:lnTo>
                  <a:lnTo>
                    <a:pt x="101358" y="206121"/>
                  </a:lnTo>
                  <a:lnTo>
                    <a:pt x="101358" y="232168"/>
                  </a:lnTo>
                  <a:lnTo>
                    <a:pt x="184403" y="232168"/>
                  </a:lnTo>
                  <a:lnTo>
                    <a:pt x="184403" y="206121"/>
                  </a:lnTo>
                  <a:lnTo>
                    <a:pt x="163563" y="201650"/>
                  </a:lnTo>
                  <a:lnTo>
                    <a:pt x="163547" y="136321"/>
                  </a:lnTo>
                  <a:lnTo>
                    <a:pt x="162665" y="120266"/>
                  </a:lnTo>
                  <a:lnTo>
                    <a:pt x="159972" y="106198"/>
                  </a:lnTo>
                  <a:lnTo>
                    <a:pt x="158351" y="101942"/>
                  </a:lnTo>
                  <a:close/>
                </a:path>
                <a:path w="184785" h="232410">
                  <a:moveTo>
                    <a:pt x="109537" y="68160"/>
                  </a:moveTo>
                  <a:lnTo>
                    <a:pt x="100609" y="68160"/>
                  </a:lnTo>
                  <a:lnTo>
                    <a:pt x="92468" y="70218"/>
                  </a:lnTo>
                  <a:lnTo>
                    <a:pt x="66522" y="91668"/>
                  </a:lnTo>
                  <a:lnTo>
                    <a:pt x="153672" y="91668"/>
                  </a:lnTo>
                  <a:lnTo>
                    <a:pt x="121503" y="69206"/>
                  </a:lnTo>
                  <a:lnTo>
                    <a:pt x="109537" y="6816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88">
              <a:extLst>
                <a:ext uri="{FF2B5EF4-FFF2-40B4-BE49-F238E27FC236}">
                  <a16:creationId xmlns:a16="http://schemas.microsoft.com/office/drawing/2014/main" id="{A11CD4B7-70B0-48C5-BB71-809B76B048B2}"/>
                </a:ext>
              </a:extLst>
            </p:cNvPr>
            <p:cNvSpPr/>
            <p:nvPr/>
          </p:nvSpPr>
          <p:spPr>
            <a:xfrm>
              <a:off x="3644404" y="2851289"/>
              <a:ext cx="151130" cy="167640"/>
            </a:xfrm>
            <a:custGeom>
              <a:avLst/>
              <a:gdLst/>
              <a:ahLst/>
              <a:cxnLst/>
              <a:rect l="l" t="t" r="r" b="b"/>
              <a:pathLst>
                <a:path w="151129" h="167639">
                  <a:moveTo>
                    <a:pt x="132102" y="31699"/>
                  </a:moveTo>
                  <a:lnTo>
                    <a:pt x="75844" y="31699"/>
                  </a:lnTo>
                  <a:lnTo>
                    <a:pt x="82448" y="33832"/>
                  </a:lnTo>
                  <a:lnTo>
                    <a:pt x="91376" y="42367"/>
                  </a:lnTo>
                  <a:lnTo>
                    <a:pt x="93611" y="48374"/>
                  </a:lnTo>
                  <a:lnTo>
                    <a:pt x="93611" y="71882"/>
                  </a:lnTo>
                  <a:lnTo>
                    <a:pt x="71437" y="71882"/>
                  </a:lnTo>
                  <a:lnTo>
                    <a:pt x="54933" y="72653"/>
                  </a:lnTo>
                  <a:lnTo>
                    <a:pt x="18148" y="84239"/>
                  </a:lnTo>
                  <a:lnTo>
                    <a:pt x="0" y="119214"/>
                  </a:lnTo>
                  <a:lnTo>
                    <a:pt x="869" y="129720"/>
                  </a:lnTo>
                  <a:lnTo>
                    <a:pt x="30262" y="163914"/>
                  </a:lnTo>
                  <a:lnTo>
                    <a:pt x="51485" y="167132"/>
                  </a:lnTo>
                  <a:lnTo>
                    <a:pt x="58429" y="166788"/>
                  </a:lnTo>
                  <a:lnTo>
                    <a:pt x="95694" y="147193"/>
                  </a:lnTo>
                  <a:lnTo>
                    <a:pt x="151053" y="147193"/>
                  </a:lnTo>
                  <a:lnTo>
                    <a:pt x="151053" y="137960"/>
                  </a:lnTo>
                  <a:lnTo>
                    <a:pt x="137807" y="136182"/>
                  </a:lnTo>
                  <a:lnTo>
                    <a:pt x="137631" y="134988"/>
                  </a:lnTo>
                  <a:lnTo>
                    <a:pt x="56997" y="134988"/>
                  </a:lnTo>
                  <a:lnTo>
                    <a:pt x="52108" y="133451"/>
                  </a:lnTo>
                  <a:lnTo>
                    <a:pt x="45059" y="127304"/>
                  </a:lnTo>
                  <a:lnTo>
                    <a:pt x="43307" y="123037"/>
                  </a:lnTo>
                  <a:lnTo>
                    <a:pt x="43307" y="111518"/>
                  </a:lnTo>
                  <a:lnTo>
                    <a:pt x="45681" y="106337"/>
                  </a:lnTo>
                  <a:lnTo>
                    <a:pt x="55206" y="97701"/>
                  </a:lnTo>
                  <a:lnTo>
                    <a:pt x="62204" y="95554"/>
                  </a:lnTo>
                  <a:lnTo>
                    <a:pt x="137210" y="95554"/>
                  </a:lnTo>
                  <a:lnTo>
                    <a:pt x="137210" y="56413"/>
                  </a:lnTo>
                  <a:lnTo>
                    <a:pt x="136043" y="43645"/>
                  </a:lnTo>
                  <a:lnTo>
                    <a:pt x="132543" y="32429"/>
                  </a:lnTo>
                  <a:lnTo>
                    <a:pt x="132102" y="31699"/>
                  </a:lnTo>
                  <a:close/>
                </a:path>
                <a:path w="151129" h="167639">
                  <a:moveTo>
                    <a:pt x="151053" y="147193"/>
                  </a:moveTo>
                  <a:lnTo>
                    <a:pt x="95694" y="147193"/>
                  </a:lnTo>
                  <a:lnTo>
                    <a:pt x="96189" y="150063"/>
                  </a:lnTo>
                  <a:lnTo>
                    <a:pt x="96875" y="152920"/>
                  </a:lnTo>
                  <a:lnTo>
                    <a:pt x="98666" y="158572"/>
                  </a:lnTo>
                  <a:lnTo>
                    <a:pt x="99707" y="161328"/>
                  </a:lnTo>
                  <a:lnTo>
                    <a:pt x="100901" y="164007"/>
                  </a:lnTo>
                  <a:lnTo>
                    <a:pt x="151053" y="164007"/>
                  </a:lnTo>
                  <a:lnTo>
                    <a:pt x="151053" y="147193"/>
                  </a:lnTo>
                  <a:close/>
                </a:path>
                <a:path w="151129" h="167639">
                  <a:moveTo>
                    <a:pt x="137210" y="95554"/>
                  </a:moveTo>
                  <a:lnTo>
                    <a:pt x="93611" y="95554"/>
                  </a:lnTo>
                  <a:lnTo>
                    <a:pt x="93611" y="120103"/>
                  </a:lnTo>
                  <a:lnTo>
                    <a:pt x="90627" y="124371"/>
                  </a:lnTo>
                  <a:lnTo>
                    <a:pt x="86461" y="127914"/>
                  </a:lnTo>
                  <a:lnTo>
                    <a:pt x="75742" y="133578"/>
                  </a:lnTo>
                  <a:lnTo>
                    <a:pt x="69799" y="134988"/>
                  </a:lnTo>
                  <a:lnTo>
                    <a:pt x="137631" y="134988"/>
                  </a:lnTo>
                  <a:lnTo>
                    <a:pt x="137515" y="134200"/>
                  </a:lnTo>
                  <a:lnTo>
                    <a:pt x="137337" y="132105"/>
                  </a:lnTo>
                  <a:lnTo>
                    <a:pt x="137210" y="95554"/>
                  </a:lnTo>
                  <a:close/>
                </a:path>
                <a:path w="151129" h="167639">
                  <a:moveTo>
                    <a:pt x="69938" y="0"/>
                  </a:moveTo>
                  <a:lnTo>
                    <a:pt x="28898" y="8421"/>
                  </a:lnTo>
                  <a:lnTo>
                    <a:pt x="8928" y="54775"/>
                  </a:lnTo>
                  <a:lnTo>
                    <a:pt x="41668" y="54775"/>
                  </a:lnTo>
                  <a:lnTo>
                    <a:pt x="44488" y="37503"/>
                  </a:lnTo>
                  <a:lnTo>
                    <a:pt x="46875" y="35915"/>
                  </a:lnTo>
                  <a:lnTo>
                    <a:pt x="49999" y="34556"/>
                  </a:lnTo>
                  <a:lnTo>
                    <a:pt x="57734" y="32270"/>
                  </a:lnTo>
                  <a:lnTo>
                    <a:pt x="62153" y="31699"/>
                  </a:lnTo>
                  <a:lnTo>
                    <a:pt x="132102" y="31699"/>
                  </a:lnTo>
                  <a:lnTo>
                    <a:pt x="126709" y="22766"/>
                  </a:lnTo>
                  <a:lnTo>
                    <a:pt x="118541" y="14655"/>
                  </a:lnTo>
                  <a:lnTo>
                    <a:pt x="108497" y="8245"/>
                  </a:lnTo>
                  <a:lnTo>
                    <a:pt x="97050" y="3665"/>
                  </a:lnTo>
                  <a:lnTo>
                    <a:pt x="84198" y="916"/>
                  </a:lnTo>
                  <a:lnTo>
                    <a:pt x="69938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89">
              <a:extLst>
                <a:ext uri="{FF2B5EF4-FFF2-40B4-BE49-F238E27FC236}">
                  <a16:creationId xmlns:a16="http://schemas.microsoft.com/office/drawing/2014/main" id="{129EEF52-D006-4A48-B75E-147F05F65380}"/>
                </a:ext>
              </a:extLst>
            </p:cNvPr>
            <p:cNvSpPr/>
            <p:nvPr/>
          </p:nvSpPr>
          <p:spPr>
            <a:xfrm>
              <a:off x="3795471" y="2814827"/>
              <a:ext cx="100330" cy="203835"/>
            </a:xfrm>
            <a:custGeom>
              <a:avLst/>
              <a:gdLst/>
              <a:ahLst/>
              <a:cxnLst/>
              <a:rect l="l" t="t" r="r" b="b"/>
              <a:pathLst>
                <a:path w="100329" h="203835">
                  <a:moveTo>
                    <a:pt x="66967" y="69951"/>
                  </a:moveTo>
                  <a:lnTo>
                    <a:pt x="23660" y="69951"/>
                  </a:lnTo>
                  <a:lnTo>
                    <a:pt x="23660" y="152107"/>
                  </a:lnTo>
                  <a:lnTo>
                    <a:pt x="35788" y="191249"/>
                  </a:lnTo>
                  <a:lnTo>
                    <a:pt x="70396" y="203593"/>
                  </a:lnTo>
                  <a:lnTo>
                    <a:pt x="75946" y="203593"/>
                  </a:lnTo>
                  <a:lnTo>
                    <a:pt x="81102" y="203225"/>
                  </a:lnTo>
                  <a:lnTo>
                    <a:pt x="90627" y="201739"/>
                  </a:lnTo>
                  <a:lnTo>
                    <a:pt x="95440" y="200621"/>
                  </a:lnTo>
                  <a:lnTo>
                    <a:pt x="100304" y="199136"/>
                  </a:lnTo>
                  <a:lnTo>
                    <a:pt x="96777" y="169367"/>
                  </a:lnTo>
                  <a:lnTo>
                    <a:pt x="76885" y="169367"/>
                  </a:lnTo>
                  <a:lnTo>
                    <a:pt x="73418" y="168021"/>
                  </a:lnTo>
                  <a:lnTo>
                    <a:pt x="68262" y="162674"/>
                  </a:lnTo>
                  <a:lnTo>
                    <a:pt x="66967" y="158203"/>
                  </a:lnTo>
                  <a:lnTo>
                    <a:pt x="66967" y="69951"/>
                  </a:lnTo>
                  <a:close/>
                </a:path>
                <a:path w="100329" h="203835">
                  <a:moveTo>
                    <a:pt x="96583" y="167728"/>
                  </a:moveTo>
                  <a:lnTo>
                    <a:pt x="93802" y="168325"/>
                  </a:lnTo>
                  <a:lnTo>
                    <a:pt x="91300" y="168744"/>
                  </a:lnTo>
                  <a:lnTo>
                    <a:pt x="86829" y="169240"/>
                  </a:lnTo>
                  <a:lnTo>
                    <a:pt x="84226" y="169367"/>
                  </a:lnTo>
                  <a:lnTo>
                    <a:pt x="96777" y="169367"/>
                  </a:lnTo>
                  <a:lnTo>
                    <a:pt x="96583" y="167728"/>
                  </a:lnTo>
                  <a:close/>
                </a:path>
                <a:path w="100329" h="203835">
                  <a:moveTo>
                    <a:pt x="95250" y="39433"/>
                  </a:moveTo>
                  <a:lnTo>
                    <a:pt x="0" y="39433"/>
                  </a:lnTo>
                  <a:lnTo>
                    <a:pt x="0" y="69951"/>
                  </a:lnTo>
                  <a:lnTo>
                    <a:pt x="95250" y="69951"/>
                  </a:lnTo>
                  <a:lnTo>
                    <a:pt x="95250" y="39433"/>
                  </a:lnTo>
                  <a:close/>
                </a:path>
                <a:path w="100329" h="203835">
                  <a:moveTo>
                    <a:pt x="66967" y="0"/>
                  </a:moveTo>
                  <a:lnTo>
                    <a:pt x="23660" y="0"/>
                  </a:lnTo>
                  <a:lnTo>
                    <a:pt x="23660" y="39433"/>
                  </a:lnTo>
                  <a:lnTo>
                    <a:pt x="66967" y="39433"/>
                  </a:lnTo>
                  <a:lnTo>
                    <a:pt x="66967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" name="object 90">
              <a:extLst>
                <a:ext uri="{FF2B5EF4-FFF2-40B4-BE49-F238E27FC236}">
                  <a16:creationId xmlns:a16="http://schemas.microsoft.com/office/drawing/2014/main" id="{CC1D76FC-C937-4613-90C6-7A4E57A8E547}"/>
                </a:ext>
              </a:extLst>
            </p:cNvPr>
            <p:cNvSpPr/>
            <p:nvPr/>
          </p:nvSpPr>
          <p:spPr>
            <a:xfrm>
              <a:off x="3983126" y="2854261"/>
              <a:ext cx="233679" cy="161290"/>
            </a:xfrm>
            <a:custGeom>
              <a:avLst/>
              <a:gdLst/>
              <a:ahLst/>
              <a:cxnLst/>
              <a:rect l="l" t="t" r="r" b="b"/>
              <a:pathLst>
                <a:path w="233679" h="161289">
                  <a:moveTo>
                    <a:pt x="72936" y="0"/>
                  </a:moveTo>
                  <a:lnTo>
                    <a:pt x="0" y="0"/>
                  </a:lnTo>
                  <a:lnTo>
                    <a:pt x="0" y="26200"/>
                  </a:lnTo>
                  <a:lnTo>
                    <a:pt x="16230" y="28282"/>
                  </a:lnTo>
                  <a:lnTo>
                    <a:pt x="50012" y="161035"/>
                  </a:lnTo>
                  <a:lnTo>
                    <a:pt x="86182" y="161035"/>
                  </a:lnTo>
                  <a:lnTo>
                    <a:pt x="104245" y="103149"/>
                  </a:lnTo>
                  <a:lnTo>
                    <a:pt x="70992" y="103149"/>
                  </a:lnTo>
                  <a:lnTo>
                    <a:pt x="55816" y="29476"/>
                  </a:lnTo>
                  <a:lnTo>
                    <a:pt x="72936" y="26200"/>
                  </a:lnTo>
                  <a:lnTo>
                    <a:pt x="72936" y="0"/>
                  </a:lnTo>
                  <a:close/>
                </a:path>
                <a:path w="233679" h="161289">
                  <a:moveTo>
                    <a:pt x="150256" y="65189"/>
                  </a:moveTo>
                  <a:lnTo>
                    <a:pt x="116979" y="65189"/>
                  </a:lnTo>
                  <a:lnTo>
                    <a:pt x="146900" y="161035"/>
                  </a:lnTo>
                  <a:lnTo>
                    <a:pt x="183210" y="161035"/>
                  </a:lnTo>
                  <a:lnTo>
                    <a:pt x="197805" y="103441"/>
                  </a:lnTo>
                  <a:lnTo>
                    <a:pt x="161480" y="103441"/>
                  </a:lnTo>
                  <a:lnTo>
                    <a:pt x="150256" y="65189"/>
                  </a:lnTo>
                  <a:close/>
                </a:path>
                <a:path w="233679" h="161289">
                  <a:moveTo>
                    <a:pt x="233070" y="0"/>
                  </a:moveTo>
                  <a:lnTo>
                    <a:pt x="160146" y="0"/>
                  </a:lnTo>
                  <a:lnTo>
                    <a:pt x="160146" y="26200"/>
                  </a:lnTo>
                  <a:lnTo>
                    <a:pt x="177406" y="29629"/>
                  </a:lnTo>
                  <a:lnTo>
                    <a:pt x="162382" y="103441"/>
                  </a:lnTo>
                  <a:lnTo>
                    <a:pt x="197805" y="103441"/>
                  </a:lnTo>
                  <a:lnTo>
                    <a:pt x="216852" y="28282"/>
                  </a:lnTo>
                  <a:lnTo>
                    <a:pt x="233070" y="26200"/>
                  </a:lnTo>
                  <a:lnTo>
                    <a:pt x="233070" y="0"/>
                  </a:lnTo>
                  <a:close/>
                </a:path>
                <a:path w="233679" h="161289">
                  <a:moveTo>
                    <a:pt x="131127" y="0"/>
                  </a:moveTo>
                  <a:lnTo>
                    <a:pt x="101955" y="0"/>
                  </a:lnTo>
                  <a:lnTo>
                    <a:pt x="71894" y="103149"/>
                  </a:lnTo>
                  <a:lnTo>
                    <a:pt x="104245" y="103149"/>
                  </a:lnTo>
                  <a:lnTo>
                    <a:pt x="116090" y="65189"/>
                  </a:lnTo>
                  <a:lnTo>
                    <a:pt x="150256" y="65189"/>
                  </a:lnTo>
                  <a:lnTo>
                    <a:pt x="131127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91">
              <a:extLst>
                <a:ext uri="{FF2B5EF4-FFF2-40B4-BE49-F238E27FC236}">
                  <a16:creationId xmlns:a16="http://schemas.microsoft.com/office/drawing/2014/main" id="{80EB06CB-A95B-43CE-89D1-C3A1D1C93AC1}"/>
                </a:ext>
              </a:extLst>
            </p:cNvPr>
            <p:cNvSpPr/>
            <p:nvPr/>
          </p:nvSpPr>
          <p:spPr>
            <a:xfrm>
              <a:off x="4231678" y="2851289"/>
              <a:ext cx="141605" cy="167640"/>
            </a:xfrm>
            <a:custGeom>
              <a:avLst/>
              <a:gdLst/>
              <a:ahLst/>
              <a:cxnLst/>
              <a:rect l="l" t="t" r="r" b="b"/>
              <a:pathLst>
                <a:path w="141604" h="167639">
                  <a:moveTo>
                    <a:pt x="72631" y="0"/>
                  </a:moveTo>
                  <a:lnTo>
                    <a:pt x="30424" y="12924"/>
                  </a:lnTo>
                  <a:lnTo>
                    <a:pt x="4932" y="49449"/>
                  </a:lnTo>
                  <a:lnTo>
                    <a:pt x="0" y="82156"/>
                  </a:lnTo>
                  <a:lnTo>
                    <a:pt x="0" y="88112"/>
                  </a:lnTo>
                  <a:lnTo>
                    <a:pt x="11722" y="132900"/>
                  </a:lnTo>
                  <a:lnTo>
                    <a:pt x="45177" y="161556"/>
                  </a:lnTo>
                  <a:lnTo>
                    <a:pt x="76504" y="167131"/>
                  </a:lnTo>
                  <a:lnTo>
                    <a:pt x="86022" y="166798"/>
                  </a:lnTo>
                  <a:lnTo>
                    <a:pt x="126230" y="155790"/>
                  </a:lnTo>
                  <a:lnTo>
                    <a:pt x="137667" y="148539"/>
                  </a:lnTo>
                  <a:lnTo>
                    <a:pt x="131197" y="133794"/>
                  </a:lnTo>
                  <a:lnTo>
                    <a:pt x="81114" y="133794"/>
                  </a:lnTo>
                  <a:lnTo>
                    <a:pt x="73425" y="133153"/>
                  </a:lnTo>
                  <a:lnTo>
                    <a:pt x="45912" y="104943"/>
                  </a:lnTo>
                  <a:lnTo>
                    <a:pt x="44805" y="97332"/>
                  </a:lnTo>
                  <a:lnTo>
                    <a:pt x="45097" y="96443"/>
                  </a:lnTo>
                  <a:lnTo>
                    <a:pt x="141236" y="96443"/>
                  </a:lnTo>
                  <a:lnTo>
                    <a:pt x="141236" y="72783"/>
                  </a:lnTo>
                  <a:lnTo>
                    <a:pt x="140877" y="67716"/>
                  </a:lnTo>
                  <a:lnTo>
                    <a:pt x="45389" y="67716"/>
                  </a:lnTo>
                  <a:lnTo>
                    <a:pt x="44945" y="66979"/>
                  </a:lnTo>
                  <a:lnTo>
                    <a:pt x="64592" y="33489"/>
                  </a:lnTo>
                  <a:lnTo>
                    <a:pt x="132540" y="33489"/>
                  </a:lnTo>
                  <a:lnTo>
                    <a:pt x="131110" y="30333"/>
                  </a:lnTo>
                  <a:lnTo>
                    <a:pt x="123228" y="19646"/>
                  </a:lnTo>
                  <a:lnTo>
                    <a:pt x="113314" y="11053"/>
                  </a:lnTo>
                  <a:lnTo>
                    <a:pt x="101577" y="4913"/>
                  </a:lnTo>
                  <a:lnTo>
                    <a:pt x="88016" y="1228"/>
                  </a:lnTo>
                  <a:lnTo>
                    <a:pt x="72631" y="0"/>
                  </a:lnTo>
                  <a:close/>
                </a:path>
                <a:path w="141604" h="167639">
                  <a:moveTo>
                    <a:pt x="125907" y="121742"/>
                  </a:moveTo>
                  <a:lnTo>
                    <a:pt x="118376" y="125907"/>
                  </a:lnTo>
                  <a:lnTo>
                    <a:pt x="111429" y="128968"/>
                  </a:lnTo>
                  <a:lnTo>
                    <a:pt x="98729" y="132829"/>
                  </a:lnTo>
                  <a:lnTo>
                    <a:pt x="90741" y="133794"/>
                  </a:lnTo>
                  <a:lnTo>
                    <a:pt x="131197" y="133794"/>
                  </a:lnTo>
                  <a:lnTo>
                    <a:pt x="125907" y="121742"/>
                  </a:lnTo>
                  <a:close/>
                </a:path>
                <a:path w="141604" h="167639">
                  <a:moveTo>
                    <a:pt x="132540" y="33489"/>
                  </a:moveTo>
                  <a:lnTo>
                    <a:pt x="81356" y="33489"/>
                  </a:lnTo>
                  <a:lnTo>
                    <a:pt x="87883" y="36245"/>
                  </a:lnTo>
                  <a:lnTo>
                    <a:pt x="96519" y="47256"/>
                  </a:lnTo>
                  <a:lnTo>
                    <a:pt x="98678" y="54622"/>
                  </a:lnTo>
                  <a:lnTo>
                    <a:pt x="98678" y="67716"/>
                  </a:lnTo>
                  <a:lnTo>
                    <a:pt x="140877" y="67716"/>
                  </a:lnTo>
                  <a:lnTo>
                    <a:pt x="140112" y="56903"/>
                  </a:lnTo>
                  <a:lnTo>
                    <a:pt x="136724" y="42722"/>
                  </a:lnTo>
                  <a:lnTo>
                    <a:pt x="132540" y="33489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92">
              <a:extLst>
                <a:ext uri="{FF2B5EF4-FFF2-40B4-BE49-F238E27FC236}">
                  <a16:creationId xmlns:a16="http://schemas.microsoft.com/office/drawing/2014/main" id="{9DE22039-7CEC-41E2-A5F4-6317F7B8E846}"/>
                </a:ext>
              </a:extLst>
            </p:cNvPr>
            <p:cNvSpPr/>
            <p:nvPr/>
          </p:nvSpPr>
          <p:spPr>
            <a:xfrm>
              <a:off x="4381855" y="2783128"/>
              <a:ext cx="48895" cy="86995"/>
            </a:xfrm>
            <a:custGeom>
              <a:avLst/>
              <a:gdLst/>
              <a:ahLst/>
              <a:cxnLst/>
              <a:rect l="l" t="t" r="r" b="b"/>
              <a:pathLst>
                <a:path w="48895" h="86994">
                  <a:moveTo>
                    <a:pt x="48513" y="0"/>
                  </a:moveTo>
                  <a:lnTo>
                    <a:pt x="12052" y="0"/>
                  </a:lnTo>
                  <a:lnTo>
                    <a:pt x="12052" y="37744"/>
                  </a:lnTo>
                  <a:lnTo>
                    <a:pt x="11010" y="46113"/>
                  </a:lnTo>
                  <a:lnTo>
                    <a:pt x="6845" y="60896"/>
                  </a:lnTo>
                  <a:lnTo>
                    <a:pt x="3860" y="68008"/>
                  </a:lnTo>
                  <a:lnTo>
                    <a:pt x="0" y="74853"/>
                  </a:lnTo>
                  <a:lnTo>
                    <a:pt x="21424" y="86614"/>
                  </a:lnTo>
                  <a:lnTo>
                    <a:pt x="44077" y="51629"/>
                  </a:lnTo>
                  <a:lnTo>
                    <a:pt x="48513" y="28422"/>
                  </a:lnTo>
                  <a:lnTo>
                    <a:pt x="48513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93">
              <a:extLst>
                <a:ext uri="{FF2B5EF4-FFF2-40B4-BE49-F238E27FC236}">
                  <a16:creationId xmlns:a16="http://schemas.microsoft.com/office/drawing/2014/main" id="{A3EB62AE-E2BF-42D3-8C7D-55AB45CA986B}"/>
                </a:ext>
              </a:extLst>
            </p:cNvPr>
            <p:cNvSpPr/>
            <p:nvPr/>
          </p:nvSpPr>
          <p:spPr>
            <a:xfrm>
              <a:off x="4447781" y="2854261"/>
              <a:ext cx="165100" cy="161290"/>
            </a:xfrm>
            <a:custGeom>
              <a:avLst/>
              <a:gdLst/>
              <a:ahLst/>
              <a:cxnLst/>
              <a:rect l="l" t="t" r="r" b="b"/>
              <a:pathLst>
                <a:path w="165100" h="161289">
                  <a:moveTo>
                    <a:pt x="73075" y="0"/>
                  </a:moveTo>
                  <a:lnTo>
                    <a:pt x="0" y="0"/>
                  </a:lnTo>
                  <a:lnTo>
                    <a:pt x="0" y="26200"/>
                  </a:lnTo>
                  <a:lnTo>
                    <a:pt x="13995" y="28435"/>
                  </a:lnTo>
                  <a:lnTo>
                    <a:pt x="61620" y="161035"/>
                  </a:lnTo>
                  <a:lnTo>
                    <a:pt x="103136" y="161035"/>
                  </a:lnTo>
                  <a:lnTo>
                    <a:pt x="119173" y="116243"/>
                  </a:lnTo>
                  <a:lnTo>
                    <a:pt x="82003" y="116243"/>
                  </a:lnTo>
                  <a:lnTo>
                    <a:pt x="79171" y="101066"/>
                  </a:lnTo>
                  <a:lnTo>
                    <a:pt x="57899" y="29032"/>
                  </a:lnTo>
                  <a:lnTo>
                    <a:pt x="73075" y="26200"/>
                  </a:lnTo>
                  <a:lnTo>
                    <a:pt x="73075" y="0"/>
                  </a:lnTo>
                  <a:close/>
                </a:path>
                <a:path w="165100" h="161289">
                  <a:moveTo>
                    <a:pt x="164604" y="0"/>
                  </a:moveTo>
                  <a:lnTo>
                    <a:pt x="91528" y="0"/>
                  </a:lnTo>
                  <a:lnTo>
                    <a:pt x="91528" y="26200"/>
                  </a:lnTo>
                  <a:lnTo>
                    <a:pt x="107010" y="29171"/>
                  </a:lnTo>
                  <a:lnTo>
                    <a:pt x="86029" y="101066"/>
                  </a:lnTo>
                  <a:lnTo>
                    <a:pt x="82892" y="116243"/>
                  </a:lnTo>
                  <a:lnTo>
                    <a:pt x="119173" y="116243"/>
                  </a:lnTo>
                  <a:lnTo>
                    <a:pt x="150609" y="28435"/>
                  </a:lnTo>
                  <a:lnTo>
                    <a:pt x="164604" y="26200"/>
                  </a:lnTo>
                  <a:lnTo>
                    <a:pt x="164604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94">
              <a:extLst>
                <a:ext uri="{FF2B5EF4-FFF2-40B4-BE49-F238E27FC236}">
                  <a16:creationId xmlns:a16="http://schemas.microsoft.com/office/drawing/2014/main" id="{79D488A4-F5D8-4B52-B21B-168A136B330E}"/>
                </a:ext>
              </a:extLst>
            </p:cNvPr>
            <p:cNvSpPr/>
            <p:nvPr/>
          </p:nvSpPr>
          <p:spPr>
            <a:xfrm>
              <a:off x="4624882" y="2851289"/>
              <a:ext cx="141605" cy="167640"/>
            </a:xfrm>
            <a:custGeom>
              <a:avLst/>
              <a:gdLst/>
              <a:ahLst/>
              <a:cxnLst/>
              <a:rect l="l" t="t" r="r" b="b"/>
              <a:pathLst>
                <a:path w="141604" h="167639">
                  <a:moveTo>
                    <a:pt x="72631" y="0"/>
                  </a:moveTo>
                  <a:lnTo>
                    <a:pt x="30424" y="12924"/>
                  </a:lnTo>
                  <a:lnTo>
                    <a:pt x="4932" y="49449"/>
                  </a:lnTo>
                  <a:lnTo>
                    <a:pt x="0" y="82156"/>
                  </a:lnTo>
                  <a:lnTo>
                    <a:pt x="0" y="88112"/>
                  </a:lnTo>
                  <a:lnTo>
                    <a:pt x="11722" y="132900"/>
                  </a:lnTo>
                  <a:lnTo>
                    <a:pt x="45177" y="161556"/>
                  </a:lnTo>
                  <a:lnTo>
                    <a:pt x="76504" y="167131"/>
                  </a:lnTo>
                  <a:lnTo>
                    <a:pt x="86022" y="166798"/>
                  </a:lnTo>
                  <a:lnTo>
                    <a:pt x="126230" y="155790"/>
                  </a:lnTo>
                  <a:lnTo>
                    <a:pt x="137667" y="148539"/>
                  </a:lnTo>
                  <a:lnTo>
                    <a:pt x="131197" y="133794"/>
                  </a:lnTo>
                  <a:lnTo>
                    <a:pt x="81114" y="133794"/>
                  </a:lnTo>
                  <a:lnTo>
                    <a:pt x="73425" y="133153"/>
                  </a:lnTo>
                  <a:lnTo>
                    <a:pt x="45912" y="104943"/>
                  </a:lnTo>
                  <a:lnTo>
                    <a:pt x="44805" y="97332"/>
                  </a:lnTo>
                  <a:lnTo>
                    <a:pt x="45097" y="96443"/>
                  </a:lnTo>
                  <a:lnTo>
                    <a:pt x="141236" y="96443"/>
                  </a:lnTo>
                  <a:lnTo>
                    <a:pt x="141236" y="72783"/>
                  </a:lnTo>
                  <a:lnTo>
                    <a:pt x="140877" y="67716"/>
                  </a:lnTo>
                  <a:lnTo>
                    <a:pt x="45389" y="67716"/>
                  </a:lnTo>
                  <a:lnTo>
                    <a:pt x="44945" y="66979"/>
                  </a:lnTo>
                  <a:lnTo>
                    <a:pt x="64592" y="33489"/>
                  </a:lnTo>
                  <a:lnTo>
                    <a:pt x="132540" y="33489"/>
                  </a:lnTo>
                  <a:lnTo>
                    <a:pt x="131110" y="30333"/>
                  </a:lnTo>
                  <a:lnTo>
                    <a:pt x="123228" y="19646"/>
                  </a:lnTo>
                  <a:lnTo>
                    <a:pt x="113314" y="11053"/>
                  </a:lnTo>
                  <a:lnTo>
                    <a:pt x="101577" y="4913"/>
                  </a:lnTo>
                  <a:lnTo>
                    <a:pt x="88016" y="1228"/>
                  </a:lnTo>
                  <a:lnTo>
                    <a:pt x="72631" y="0"/>
                  </a:lnTo>
                  <a:close/>
                </a:path>
                <a:path w="141604" h="167639">
                  <a:moveTo>
                    <a:pt x="125907" y="121742"/>
                  </a:moveTo>
                  <a:lnTo>
                    <a:pt x="118376" y="125907"/>
                  </a:lnTo>
                  <a:lnTo>
                    <a:pt x="111429" y="128968"/>
                  </a:lnTo>
                  <a:lnTo>
                    <a:pt x="98729" y="132829"/>
                  </a:lnTo>
                  <a:lnTo>
                    <a:pt x="90741" y="133794"/>
                  </a:lnTo>
                  <a:lnTo>
                    <a:pt x="131197" y="133794"/>
                  </a:lnTo>
                  <a:lnTo>
                    <a:pt x="125907" y="121742"/>
                  </a:lnTo>
                  <a:close/>
                </a:path>
                <a:path w="141604" h="167639">
                  <a:moveTo>
                    <a:pt x="132540" y="33489"/>
                  </a:moveTo>
                  <a:lnTo>
                    <a:pt x="81356" y="33489"/>
                  </a:lnTo>
                  <a:lnTo>
                    <a:pt x="87883" y="36245"/>
                  </a:lnTo>
                  <a:lnTo>
                    <a:pt x="96519" y="47256"/>
                  </a:lnTo>
                  <a:lnTo>
                    <a:pt x="98678" y="54622"/>
                  </a:lnTo>
                  <a:lnTo>
                    <a:pt x="98678" y="67716"/>
                  </a:lnTo>
                  <a:lnTo>
                    <a:pt x="140877" y="67716"/>
                  </a:lnTo>
                  <a:lnTo>
                    <a:pt x="140112" y="56903"/>
                  </a:lnTo>
                  <a:lnTo>
                    <a:pt x="136724" y="42722"/>
                  </a:lnTo>
                  <a:lnTo>
                    <a:pt x="132540" y="33489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95">
              <a:extLst>
                <a:ext uri="{FF2B5EF4-FFF2-40B4-BE49-F238E27FC236}">
                  <a16:creationId xmlns:a16="http://schemas.microsoft.com/office/drawing/2014/main" id="{DC10711F-EC35-48F8-B537-3A623DE677E4}"/>
                </a:ext>
              </a:extLst>
            </p:cNvPr>
            <p:cNvSpPr/>
            <p:nvPr/>
          </p:nvSpPr>
          <p:spPr>
            <a:xfrm>
              <a:off x="4866436" y="2851594"/>
              <a:ext cx="132308" cy="16682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96">
              <a:extLst>
                <a:ext uri="{FF2B5EF4-FFF2-40B4-BE49-F238E27FC236}">
                  <a16:creationId xmlns:a16="http://schemas.microsoft.com/office/drawing/2014/main" id="{83D05D5E-8294-4E94-B8C3-E20A6424B356}"/>
                </a:ext>
              </a:extLst>
            </p:cNvPr>
            <p:cNvSpPr/>
            <p:nvPr/>
          </p:nvSpPr>
          <p:spPr>
            <a:xfrm>
              <a:off x="5018824" y="2851289"/>
              <a:ext cx="141236" cy="167131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97">
              <a:extLst>
                <a:ext uri="{FF2B5EF4-FFF2-40B4-BE49-F238E27FC236}">
                  <a16:creationId xmlns:a16="http://schemas.microsoft.com/office/drawing/2014/main" id="{2E11363A-A672-47B0-BC35-8D5F980E972B}"/>
                </a:ext>
              </a:extLst>
            </p:cNvPr>
            <p:cNvSpPr/>
            <p:nvPr/>
          </p:nvSpPr>
          <p:spPr>
            <a:xfrm>
              <a:off x="5181193" y="2851289"/>
              <a:ext cx="341414" cy="16713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98">
              <a:extLst>
                <a:ext uri="{FF2B5EF4-FFF2-40B4-BE49-F238E27FC236}">
                  <a16:creationId xmlns:a16="http://schemas.microsoft.com/office/drawing/2014/main" id="{8E14B855-C948-4E00-8BE0-9B7DB4DBC7E9}"/>
                </a:ext>
              </a:extLst>
            </p:cNvPr>
            <p:cNvSpPr/>
            <p:nvPr/>
          </p:nvSpPr>
          <p:spPr>
            <a:xfrm>
              <a:off x="5606554" y="2783116"/>
              <a:ext cx="420141" cy="235305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" name="object 99">
              <a:extLst>
                <a:ext uri="{FF2B5EF4-FFF2-40B4-BE49-F238E27FC236}">
                  <a16:creationId xmlns:a16="http://schemas.microsoft.com/office/drawing/2014/main" id="{7F057F96-27F6-4ED7-8419-6117357718AA}"/>
                </a:ext>
              </a:extLst>
            </p:cNvPr>
            <p:cNvSpPr/>
            <p:nvPr/>
          </p:nvSpPr>
          <p:spPr>
            <a:xfrm>
              <a:off x="6047384" y="2783116"/>
              <a:ext cx="244817" cy="235305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100">
              <a:extLst>
                <a:ext uri="{FF2B5EF4-FFF2-40B4-BE49-F238E27FC236}">
                  <a16:creationId xmlns:a16="http://schemas.microsoft.com/office/drawing/2014/main" id="{0621D6F2-EBAF-444A-BF8D-8A69322E2A50}"/>
                </a:ext>
              </a:extLst>
            </p:cNvPr>
            <p:cNvSpPr/>
            <p:nvPr/>
          </p:nvSpPr>
          <p:spPr>
            <a:xfrm>
              <a:off x="6311404" y="2851594"/>
              <a:ext cx="132308" cy="16682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4" name="object 101">
              <a:extLst>
                <a:ext uri="{FF2B5EF4-FFF2-40B4-BE49-F238E27FC236}">
                  <a16:creationId xmlns:a16="http://schemas.microsoft.com/office/drawing/2014/main" id="{EB5C1890-ADCD-44AB-9FC9-5645EE937762}"/>
                </a:ext>
              </a:extLst>
            </p:cNvPr>
            <p:cNvSpPr/>
            <p:nvPr/>
          </p:nvSpPr>
          <p:spPr>
            <a:xfrm>
              <a:off x="780498" y="3159061"/>
              <a:ext cx="233679" cy="161290"/>
            </a:xfrm>
            <a:custGeom>
              <a:avLst/>
              <a:gdLst/>
              <a:ahLst/>
              <a:cxnLst/>
              <a:rect l="l" t="t" r="r" b="b"/>
              <a:pathLst>
                <a:path w="233680" h="161289">
                  <a:moveTo>
                    <a:pt x="72936" y="0"/>
                  </a:moveTo>
                  <a:lnTo>
                    <a:pt x="0" y="0"/>
                  </a:lnTo>
                  <a:lnTo>
                    <a:pt x="0" y="26200"/>
                  </a:lnTo>
                  <a:lnTo>
                    <a:pt x="16230" y="28282"/>
                  </a:lnTo>
                  <a:lnTo>
                    <a:pt x="50012" y="161035"/>
                  </a:lnTo>
                  <a:lnTo>
                    <a:pt x="86182" y="161035"/>
                  </a:lnTo>
                  <a:lnTo>
                    <a:pt x="104245" y="103149"/>
                  </a:lnTo>
                  <a:lnTo>
                    <a:pt x="70993" y="103149"/>
                  </a:lnTo>
                  <a:lnTo>
                    <a:pt x="55816" y="29476"/>
                  </a:lnTo>
                  <a:lnTo>
                    <a:pt x="72936" y="26200"/>
                  </a:lnTo>
                  <a:lnTo>
                    <a:pt x="72936" y="0"/>
                  </a:lnTo>
                  <a:close/>
                </a:path>
                <a:path w="233680" h="161289">
                  <a:moveTo>
                    <a:pt x="150256" y="65189"/>
                  </a:moveTo>
                  <a:lnTo>
                    <a:pt x="116979" y="65189"/>
                  </a:lnTo>
                  <a:lnTo>
                    <a:pt x="146900" y="161035"/>
                  </a:lnTo>
                  <a:lnTo>
                    <a:pt x="183210" y="161035"/>
                  </a:lnTo>
                  <a:lnTo>
                    <a:pt x="197805" y="103441"/>
                  </a:lnTo>
                  <a:lnTo>
                    <a:pt x="161480" y="103441"/>
                  </a:lnTo>
                  <a:lnTo>
                    <a:pt x="150256" y="65189"/>
                  </a:lnTo>
                  <a:close/>
                </a:path>
                <a:path w="233680" h="161289">
                  <a:moveTo>
                    <a:pt x="233070" y="0"/>
                  </a:moveTo>
                  <a:lnTo>
                    <a:pt x="160147" y="0"/>
                  </a:lnTo>
                  <a:lnTo>
                    <a:pt x="160147" y="26200"/>
                  </a:lnTo>
                  <a:lnTo>
                    <a:pt x="177406" y="29629"/>
                  </a:lnTo>
                  <a:lnTo>
                    <a:pt x="162382" y="103441"/>
                  </a:lnTo>
                  <a:lnTo>
                    <a:pt x="197805" y="103441"/>
                  </a:lnTo>
                  <a:lnTo>
                    <a:pt x="216852" y="28282"/>
                  </a:lnTo>
                  <a:lnTo>
                    <a:pt x="233070" y="26200"/>
                  </a:lnTo>
                  <a:lnTo>
                    <a:pt x="233070" y="0"/>
                  </a:lnTo>
                  <a:close/>
                </a:path>
                <a:path w="233680" h="161289">
                  <a:moveTo>
                    <a:pt x="131127" y="0"/>
                  </a:moveTo>
                  <a:lnTo>
                    <a:pt x="101955" y="0"/>
                  </a:lnTo>
                  <a:lnTo>
                    <a:pt x="71894" y="103149"/>
                  </a:lnTo>
                  <a:lnTo>
                    <a:pt x="104245" y="103149"/>
                  </a:lnTo>
                  <a:lnTo>
                    <a:pt x="116090" y="65189"/>
                  </a:lnTo>
                  <a:lnTo>
                    <a:pt x="150256" y="65189"/>
                  </a:lnTo>
                  <a:lnTo>
                    <a:pt x="131127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102">
              <a:extLst>
                <a:ext uri="{FF2B5EF4-FFF2-40B4-BE49-F238E27FC236}">
                  <a16:creationId xmlns:a16="http://schemas.microsoft.com/office/drawing/2014/main" id="{BE9BDF38-2388-4D1E-9342-3F705A39E713}"/>
                </a:ext>
              </a:extLst>
            </p:cNvPr>
            <p:cNvSpPr/>
            <p:nvPr/>
          </p:nvSpPr>
          <p:spPr>
            <a:xfrm>
              <a:off x="1024877" y="3087928"/>
              <a:ext cx="87630" cy="232410"/>
            </a:xfrm>
            <a:custGeom>
              <a:avLst/>
              <a:gdLst/>
              <a:ahLst/>
              <a:cxnLst/>
              <a:rect l="l" t="t" r="r" b="b"/>
              <a:pathLst>
                <a:path w="87630" h="232410">
                  <a:moveTo>
                    <a:pt x="66675" y="0"/>
                  </a:moveTo>
                  <a:lnTo>
                    <a:pt x="23215" y="0"/>
                  </a:lnTo>
                  <a:lnTo>
                    <a:pt x="23215" y="32588"/>
                  </a:lnTo>
                  <a:lnTo>
                    <a:pt x="66675" y="32588"/>
                  </a:lnTo>
                  <a:lnTo>
                    <a:pt x="66675" y="0"/>
                  </a:lnTo>
                  <a:close/>
                </a:path>
                <a:path w="87630" h="232410">
                  <a:moveTo>
                    <a:pt x="66675" y="71132"/>
                  </a:moveTo>
                  <a:lnTo>
                    <a:pt x="0" y="71132"/>
                  </a:lnTo>
                  <a:lnTo>
                    <a:pt x="0" y="97332"/>
                  </a:lnTo>
                  <a:lnTo>
                    <a:pt x="23215" y="101790"/>
                  </a:lnTo>
                  <a:lnTo>
                    <a:pt x="23215" y="201650"/>
                  </a:lnTo>
                  <a:lnTo>
                    <a:pt x="2235" y="206121"/>
                  </a:lnTo>
                  <a:lnTo>
                    <a:pt x="2235" y="232168"/>
                  </a:lnTo>
                  <a:lnTo>
                    <a:pt x="87515" y="232168"/>
                  </a:lnTo>
                  <a:lnTo>
                    <a:pt x="87515" y="206121"/>
                  </a:lnTo>
                  <a:lnTo>
                    <a:pt x="66675" y="201650"/>
                  </a:lnTo>
                  <a:lnTo>
                    <a:pt x="66675" y="71132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103">
              <a:extLst>
                <a:ext uri="{FF2B5EF4-FFF2-40B4-BE49-F238E27FC236}">
                  <a16:creationId xmlns:a16="http://schemas.microsoft.com/office/drawing/2014/main" id="{9FF093A1-9079-434F-9184-966A5F2CA6BA}"/>
                </a:ext>
              </a:extLst>
            </p:cNvPr>
            <p:cNvSpPr/>
            <p:nvPr/>
          </p:nvSpPr>
          <p:spPr>
            <a:xfrm>
              <a:off x="1122061" y="3156089"/>
              <a:ext cx="184785" cy="164465"/>
            </a:xfrm>
            <a:custGeom>
              <a:avLst/>
              <a:gdLst/>
              <a:ahLst/>
              <a:cxnLst/>
              <a:rect l="l" t="t" r="r" b="b"/>
              <a:pathLst>
                <a:path w="184784" h="164464">
                  <a:moveTo>
                    <a:pt x="63550" y="2971"/>
                  </a:moveTo>
                  <a:lnTo>
                    <a:pt x="0" y="2971"/>
                  </a:lnTo>
                  <a:lnTo>
                    <a:pt x="0" y="29171"/>
                  </a:lnTo>
                  <a:lnTo>
                    <a:pt x="23075" y="33629"/>
                  </a:lnTo>
                  <a:lnTo>
                    <a:pt x="23075" y="133489"/>
                  </a:lnTo>
                  <a:lnTo>
                    <a:pt x="2235" y="137960"/>
                  </a:lnTo>
                  <a:lnTo>
                    <a:pt x="2235" y="164007"/>
                  </a:lnTo>
                  <a:lnTo>
                    <a:pt x="84086" y="164007"/>
                  </a:lnTo>
                  <a:lnTo>
                    <a:pt x="84086" y="137960"/>
                  </a:lnTo>
                  <a:lnTo>
                    <a:pt x="66522" y="133489"/>
                  </a:lnTo>
                  <a:lnTo>
                    <a:pt x="66522" y="47180"/>
                  </a:lnTo>
                  <a:lnTo>
                    <a:pt x="69608" y="42913"/>
                  </a:lnTo>
                  <a:lnTo>
                    <a:pt x="73418" y="39611"/>
                  </a:lnTo>
                  <a:lnTo>
                    <a:pt x="82550" y="34950"/>
                  </a:lnTo>
                  <a:lnTo>
                    <a:pt x="87706" y="33782"/>
                  </a:lnTo>
                  <a:lnTo>
                    <a:pt x="159510" y="33782"/>
                  </a:lnTo>
                  <a:lnTo>
                    <a:pt x="156478" y="26035"/>
                  </a:lnTo>
                  <a:lnTo>
                    <a:pt x="65481" y="26035"/>
                  </a:lnTo>
                  <a:lnTo>
                    <a:pt x="63550" y="2971"/>
                  </a:lnTo>
                  <a:close/>
                </a:path>
                <a:path w="184784" h="164464">
                  <a:moveTo>
                    <a:pt x="159510" y="33782"/>
                  </a:moveTo>
                  <a:lnTo>
                    <a:pt x="102298" y="33782"/>
                  </a:lnTo>
                  <a:lnTo>
                    <a:pt x="108889" y="36042"/>
                  </a:lnTo>
                  <a:lnTo>
                    <a:pt x="117627" y="45072"/>
                  </a:lnTo>
                  <a:lnTo>
                    <a:pt x="119811" y="52730"/>
                  </a:lnTo>
                  <a:lnTo>
                    <a:pt x="119811" y="133489"/>
                  </a:lnTo>
                  <a:lnTo>
                    <a:pt x="101206" y="137960"/>
                  </a:lnTo>
                  <a:lnTo>
                    <a:pt x="101206" y="164007"/>
                  </a:lnTo>
                  <a:lnTo>
                    <a:pt x="184251" y="164007"/>
                  </a:lnTo>
                  <a:lnTo>
                    <a:pt x="184251" y="137960"/>
                  </a:lnTo>
                  <a:lnTo>
                    <a:pt x="163410" y="133489"/>
                  </a:lnTo>
                  <a:lnTo>
                    <a:pt x="163410" y="63398"/>
                  </a:lnTo>
                  <a:lnTo>
                    <a:pt x="162555" y="48113"/>
                  </a:lnTo>
                  <a:lnTo>
                    <a:pt x="159968" y="34950"/>
                  </a:lnTo>
                  <a:lnTo>
                    <a:pt x="159510" y="33782"/>
                  </a:lnTo>
                  <a:close/>
                </a:path>
                <a:path w="184784" h="164464">
                  <a:moveTo>
                    <a:pt x="111620" y="0"/>
                  </a:moveTo>
                  <a:lnTo>
                    <a:pt x="74452" y="15063"/>
                  </a:lnTo>
                  <a:lnTo>
                    <a:pt x="65481" y="26035"/>
                  </a:lnTo>
                  <a:lnTo>
                    <a:pt x="156478" y="26035"/>
                  </a:lnTo>
                  <a:lnTo>
                    <a:pt x="123159" y="957"/>
                  </a:lnTo>
                  <a:lnTo>
                    <a:pt x="111620" y="0"/>
                  </a:lnTo>
                  <a:close/>
                </a:path>
              </a:pathLst>
            </a:custGeom>
            <a:solidFill>
              <a:srgbClr val="FF4E0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104">
              <a:extLst>
                <a:ext uri="{FF2B5EF4-FFF2-40B4-BE49-F238E27FC236}">
                  <a16:creationId xmlns:a16="http://schemas.microsoft.com/office/drawing/2014/main" id="{72C871EA-270B-403F-BBD9-E59D311034D6}"/>
                </a:ext>
              </a:extLst>
            </p:cNvPr>
            <p:cNvSpPr/>
            <p:nvPr/>
          </p:nvSpPr>
          <p:spPr>
            <a:xfrm>
              <a:off x="1382217" y="3087916"/>
              <a:ext cx="434720" cy="29721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105">
              <a:extLst>
                <a:ext uri="{FF2B5EF4-FFF2-40B4-BE49-F238E27FC236}">
                  <a16:creationId xmlns:a16="http://schemas.microsoft.com/office/drawing/2014/main" id="{442A81A4-0FC6-4134-8188-073E08637BE8}"/>
                </a:ext>
              </a:extLst>
            </p:cNvPr>
            <p:cNvSpPr/>
            <p:nvPr/>
          </p:nvSpPr>
          <p:spPr>
            <a:xfrm>
              <a:off x="1914118" y="2851289"/>
              <a:ext cx="2197455" cy="533844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106">
              <a:extLst>
                <a:ext uri="{FF2B5EF4-FFF2-40B4-BE49-F238E27FC236}">
                  <a16:creationId xmlns:a16="http://schemas.microsoft.com/office/drawing/2014/main" id="{A09CFB46-6463-4791-BB8C-A6419963F299}"/>
                </a:ext>
              </a:extLst>
            </p:cNvPr>
            <p:cNvSpPr/>
            <p:nvPr/>
          </p:nvSpPr>
          <p:spPr>
            <a:xfrm>
              <a:off x="798261" y="5002898"/>
              <a:ext cx="2506659" cy="137261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107">
              <a:extLst>
                <a:ext uri="{FF2B5EF4-FFF2-40B4-BE49-F238E27FC236}">
                  <a16:creationId xmlns:a16="http://schemas.microsoft.com/office/drawing/2014/main" id="{6B105795-4CE8-4DC3-B658-0A7B9C691D1F}"/>
                </a:ext>
              </a:extLst>
            </p:cNvPr>
            <p:cNvSpPr/>
            <p:nvPr/>
          </p:nvSpPr>
          <p:spPr>
            <a:xfrm>
              <a:off x="3317595" y="51312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5" h="7620">
                  <a:moveTo>
                    <a:pt x="0" y="7620"/>
                  </a:moveTo>
                  <a:lnTo>
                    <a:pt x="38620" y="7620"/>
                  </a:lnTo>
                  <a:lnTo>
                    <a:pt x="38620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108">
              <a:extLst>
                <a:ext uri="{FF2B5EF4-FFF2-40B4-BE49-F238E27FC236}">
                  <a16:creationId xmlns:a16="http://schemas.microsoft.com/office/drawing/2014/main" id="{23B9096A-F726-47BC-B19F-1BBA13652E75}"/>
                </a:ext>
              </a:extLst>
            </p:cNvPr>
            <p:cNvSpPr/>
            <p:nvPr/>
          </p:nvSpPr>
          <p:spPr>
            <a:xfrm>
              <a:off x="3318230" y="51300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4" h="1270">
                  <a:moveTo>
                    <a:pt x="0" y="1270"/>
                  </a:moveTo>
                  <a:lnTo>
                    <a:pt x="37350" y="1270"/>
                  </a:lnTo>
                  <a:lnTo>
                    <a:pt x="37350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109">
              <a:extLst>
                <a:ext uri="{FF2B5EF4-FFF2-40B4-BE49-F238E27FC236}">
                  <a16:creationId xmlns:a16="http://schemas.microsoft.com/office/drawing/2014/main" id="{C9763568-86AF-4229-8414-994A2364866A}"/>
                </a:ext>
              </a:extLst>
            </p:cNvPr>
            <p:cNvSpPr/>
            <p:nvPr/>
          </p:nvSpPr>
          <p:spPr>
            <a:xfrm>
              <a:off x="3336906" y="5011889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10">
                  <a:moveTo>
                    <a:pt x="0" y="0"/>
                  </a:moveTo>
                  <a:lnTo>
                    <a:pt x="0" y="118109"/>
                  </a:lnTo>
                </a:path>
              </a:pathLst>
            </a:custGeom>
            <a:ln w="10350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110">
              <a:extLst>
                <a:ext uri="{FF2B5EF4-FFF2-40B4-BE49-F238E27FC236}">
                  <a16:creationId xmlns:a16="http://schemas.microsoft.com/office/drawing/2014/main" id="{E8C3AF3E-B62E-49F8-979A-70F57EFBA655}"/>
                </a:ext>
              </a:extLst>
            </p:cNvPr>
            <p:cNvSpPr/>
            <p:nvPr/>
          </p:nvSpPr>
          <p:spPr>
            <a:xfrm>
              <a:off x="3325536" y="50106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5" h="1270">
                  <a:moveTo>
                    <a:pt x="0" y="1270"/>
                  </a:moveTo>
                  <a:lnTo>
                    <a:pt x="16544" y="1270"/>
                  </a:lnTo>
                  <a:lnTo>
                    <a:pt x="16544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111">
              <a:extLst>
                <a:ext uri="{FF2B5EF4-FFF2-40B4-BE49-F238E27FC236}">
                  <a16:creationId xmlns:a16="http://schemas.microsoft.com/office/drawing/2014/main" id="{4FDDA2A8-93DE-4002-980E-2BCC0966FE8E}"/>
                </a:ext>
              </a:extLst>
            </p:cNvPr>
            <p:cNvSpPr/>
            <p:nvPr/>
          </p:nvSpPr>
          <p:spPr>
            <a:xfrm>
              <a:off x="3317595" y="50030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4" h="7620">
                  <a:moveTo>
                    <a:pt x="0" y="7620"/>
                  </a:moveTo>
                  <a:lnTo>
                    <a:pt x="24485" y="7620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112">
              <a:extLst>
                <a:ext uri="{FF2B5EF4-FFF2-40B4-BE49-F238E27FC236}">
                  <a16:creationId xmlns:a16="http://schemas.microsoft.com/office/drawing/2014/main" id="{BE9CED93-F43E-4A13-B204-37AE27FF5948}"/>
                </a:ext>
              </a:extLst>
            </p:cNvPr>
            <p:cNvSpPr/>
            <p:nvPr/>
          </p:nvSpPr>
          <p:spPr>
            <a:xfrm>
              <a:off x="3370554" y="51312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5" h="7620">
                  <a:moveTo>
                    <a:pt x="0" y="7620"/>
                  </a:moveTo>
                  <a:lnTo>
                    <a:pt x="38620" y="7620"/>
                  </a:lnTo>
                  <a:lnTo>
                    <a:pt x="38620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113">
              <a:extLst>
                <a:ext uri="{FF2B5EF4-FFF2-40B4-BE49-F238E27FC236}">
                  <a16:creationId xmlns:a16="http://schemas.microsoft.com/office/drawing/2014/main" id="{7ED36EF8-DAC6-40A9-B301-C3CF4CFFB082}"/>
                </a:ext>
              </a:extLst>
            </p:cNvPr>
            <p:cNvSpPr/>
            <p:nvPr/>
          </p:nvSpPr>
          <p:spPr>
            <a:xfrm>
              <a:off x="3371189" y="51300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4" h="1270">
                  <a:moveTo>
                    <a:pt x="0" y="1270"/>
                  </a:moveTo>
                  <a:lnTo>
                    <a:pt x="37350" y="1270"/>
                  </a:lnTo>
                  <a:lnTo>
                    <a:pt x="37350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114">
              <a:extLst>
                <a:ext uri="{FF2B5EF4-FFF2-40B4-BE49-F238E27FC236}">
                  <a16:creationId xmlns:a16="http://schemas.microsoft.com/office/drawing/2014/main" id="{A68275F0-90CF-4E6C-A6D0-315EFFF8036F}"/>
                </a:ext>
              </a:extLst>
            </p:cNvPr>
            <p:cNvSpPr/>
            <p:nvPr/>
          </p:nvSpPr>
          <p:spPr>
            <a:xfrm>
              <a:off x="3389864" y="5011889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10">
                  <a:moveTo>
                    <a:pt x="0" y="0"/>
                  </a:moveTo>
                  <a:lnTo>
                    <a:pt x="0" y="118109"/>
                  </a:lnTo>
                </a:path>
              </a:pathLst>
            </a:custGeom>
            <a:ln w="10350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115">
              <a:extLst>
                <a:ext uri="{FF2B5EF4-FFF2-40B4-BE49-F238E27FC236}">
                  <a16:creationId xmlns:a16="http://schemas.microsoft.com/office/drawing/2014/main" id="{288FF37D-D64A-43A9-AA57-260E78EE7957}"/>
                </a:ext>
              </a:extLst>
            </p:cNvPr>
            <p:cNvSpPr/>
            <p:nvPr/>
          </p:nvSpPr>
          <p:spPr>
            <a:xfrm>
              <a:off x="3378495" y="50106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5" h="1270">
                  <a:moveTo>
                    <a:pt x="0" y="1270"/>
                  </a:moveTo>
                  <a:lnTo>
                    <a:pt x="16544" y="1270"/>
                  </a:lnTo>
                  <a:lnTo>
                    <a:pt x="16544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116">
              <a:extLst>
                <a:ext uri="{FF2B5EF4-FFF2-40B4-BE49-F238E27FC236}">
                  <a16:creationId xmlns:a16="http://schemas.microsoft.com/office/drawing/2014/main" id="{5FBA9441-822E-4A34-9D55-1C8F0DB5134F}"/>
                </a:ext>
              </a:extLst>
            </p:cNvPr>
            <p:cNvSpPr/>
            <p:nvPr/>
          </p:nvSpPr>
          <p:spPr>
            <a:xfrm>
              <a:off x="3370554" y="50030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4" h="7620">
                  <a:moveTo>
                    <a:pt x="0" y="7620"/>
                  </a:moveTo>
                  <a:lnTo>
                    <a:pt x="24485" y="7620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117">
              <a:extLst>
                <a:ext uri="{FF2B5EF4-FFF2-40B4-BE49-F238E27FC236}">
                  <a16:creationId xmlns:a16="http://schemas.microsoft.com/office/drawing/2014/main" id="{5E45CECB-B4B9-4914-B0BB-2C8185F6468A}"/>
                </a:ext>
              </a:extLst>
            </p:cNvPr>
            <p:cNvSpPr/>
            <p:nvPr/>
          </p:nvSpPr>
          <p:spPr>
            <a:xfrm>
              <a:off x="3421164" y="5044401"/>
              <a:ext cx="94615" cy="132080"/>
            </a:xfrm>
            <a:custGeom>
              <a:avLst/>
              <a:gdLst/>
              <a:ahLst/>
              <a:cxnLst/>
              <a:rect l="l" t="t" r="r" b="b"/>
              <a:pathLst>
                <a:path w="94614" h="132079">
                  <a:moveTo>
                    <a:pt x="13538" y="121970"/>
                  </a:moveTo>
                  <a:lnTo>
                    <a:pt x="12318" y="130657"/>
                  </a:lnTo>
                  <a:lnTo>
                    <a:pt x="13144" y="130937"/>
                  </a:lnTo>
                  <a:lnTo>
                    <a:pt x="14401" y="131229"/>
                  </a:lnTo>
                  <a:lnTo>
                    <a:pt x="16141" y="131470"/>
                  </a:lnTo>
                  <a:lnTo>
                    <a:pt x="17881" y="131749"/>
                  </a:lnTo>
                  <a:lnTo>
                    <a:pt x="19367" y="131864"/>
                  </a:lnTo>
                  <a:lnTo>
                    <a:pt x="28054" y="131864"/>
                  </a:lnTo>
                  <a:lnTo>
                    <a:pt x="33705" y="129641"/>
                  </a:lnTo>
                  <a:lnTo>
                    <a:pt x="39859" y="122580"/>
                  </a:lnTo>
                  <a:lnTo>
                    <a:pt x="19519" y="122580"/>
                  </a:lnTo>
                  <a:lnTo>
                    <a:pt x="18427" y="122504"/>
                  </a:lnTo>
                  <a:lnTo>
                    <a:pt x="15354" y="122224"/>
                  </a:lnTo>
                  <a:lnTo>
                    <a:pt x="14236" y="122085"/>
                  </a:lnTo>
                  <a:lnTo>
                    <a:pt x="13538" y="121970"/>
                  </a:lnTo>
                  <a:close/>
                </a:path>
                <a:path w="94614" h="132079">
                  <a:moveTo>
                    <a:pt x="32296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9550" y="8509"/>
                  </a:lnTo>
                  <a:lnTo>
                    <a:pt x="42887" y="92798"/>
                  </a:lnTo>
                  <a:lnTo>
                    <a:pt x="24726" y="122580"/>
                  </a:lnTo>
                  <a:lnTo>
                    <a:pt x="39859" y="122580"/>
                  </a:lnTo>
                  <a:lnTo>
                    <a:pt x="41465" y="120726"/>
                  </a:lnTo>
                  <a:lnTo>
                    <a:pt x="44615" y="115316"/>
                  </a:lnTo>
                  <a:lnTo>
                    <a:pt x="47053" y="108953"/>
                  </a:lnTo>
                  <a:lnTo>
                    <a:pt x="58074" y="79781"/>
                  </a:lnTo>
                  <a:lnTo>
                    <a:pt x="47320" y="79781"/>
                  </a:lnTo>
                  <a:lnTo>
                    <a:pt x="44018" y="68491"/>
                  </a:lnTo>
                  <a:lnTo>
                    <a:pt x="21107" y="8585"/>
                  </a:lnTo>
                  <a:lnTo>
                    <a:pt x="32296" y="7721"/>
                  </a:lnTo>
                  <a:lnTo>
                    <a:pt x="32296" y="0"/>
                  </a:lnTo>
                  <a:close/>
                </a:path>
                <a:path w="94614" h="132079">
                  <a:moveTo>
                    <a:pt x="94551" y="0"/>
                  </a:moveTo>
                  <a:lnTo>
                    <a:pt x="62077" y="0"/>
                  </a:lnTo>
                  <a:lnTo>
                    <a:pt x="62077" y="7721"/>
                  </a:lnTo>
                  <a:lnTo>
                    <a:pt x="73545" y="8585"/>
                  </a:lnTo>
                  <a:lnTo>
                    <a:pt x="47840" y="79781"/>
                  </a:lnTo>
                  <a:lnTo>
                    <a:pt x="58074" y="79781"/>
                  </a:lnTo>
                  <a:lnTo>
                    <a:pt x="85001" y="8509"/>
                  </a:lnTo>
                  <a:lnTo>
                    <a:pt x="94551" y="7721"/>
                  </a:lnTo>
                  <a:lnTo>
                    <a:pt x="94551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118">
              <a:extLst>
                <a:ext uri="{FF2B5EF4-FFF2-40B4-BE49-F238E27FC236}">
                  <a16:creationId xmlns:a16="http://schemas.microsoft.com/office/drawing/2014/main" id="{A3F82CB2-7BB6-4B4D-BACD-2CF6833EFDBB}"/>
                </a:ext>
              </a:extLst>
            </p:cNvPr>
            <p:cNvSpPr/>
            <p:nvPr/>
          </p:nvSpPr>
          <p:spPr>
            <a:xfrm>
              <a:off x="3567709" y="5002898"/>
              <a:ext cx="388759" cy="137261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119">
              <a:extLst>
                <a:ext uri="{FF2B5EF4-FFF2-40B4-BE49-F238E27FC236}">
                  <a16:creationId xmlns:a16="http://schemas.microsoft.com/office/drawing/2014/main" id="{5E1B6013-A14D-4A7C-B1A1-B11AA7D05BAF}"/>
                </a:ext>
              </a:extLst>
            </p:cNvPr>
            <p:cNvSpPr/>
            <p:nvPr/>
          </p:nvSpPr>
          <p:spPr>
            <a:xfrm>
              <a:off x="1104134" y="5309361"/>
              <a:ext cx="82715" cy="97497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120">
              <a:extLst>
                <a:ext uri="{FF2B5EF4-FFF2-40B4-BE49-F238E27FC236}">
                  <a16:creationId xmlns:a16="http://schemas.microsoft.com/office/drawing/2014/main" id="{7229AC22-CA3D-41F0-A4CD-B59B840090DC}"/>
                </a:ext>
              </a:extLst>
            </p:cNvPr>
            <p:cNvSpPr/>
            <p:nvPr/>
          </p:nvSpPr>
          <p:spPr>
            <a:xfrm>
              <a:off x="1246517" y="5269598"/>
              <a:ext cx="346811" cy="171538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121">
              <a:extLst>
                <a:ext uri="{FF2B5EF4-FFF2-40B4-BE49-F238E27FC236}">
                  <a16:creationId xmlns:a16="http://schemas.microsoft.com/office/drawing/2014/main" id="{7B37439F-080B-4BB8-A6A3-F29D73C98223}"/>
                </a:ext>
              </a:extLst>
            </p:cNvPr>
            <p:cNvSpPr/>
            <p:nvPr/>
          </p:nvSpPr>
          <p:spPr>
            <a:xfrm>
              <a:off x="1434807" y="5269598"/>
              <a:ext cx="2524277" cy="137261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122">
              <a:extLst>
                <a:ext uri="{FF2B5EF4-FFF2-40B4-BE49-F238E27FC236}">
                  <a16:creationId xmlns:a16="http://schemas.microsoft.com/office/drawing/2014/main" id="{F8375F4A-010D-46F0-8653-261F1E79DDC6}"/>
                </a:ext>
              </a:extLst>
            </p:cNvPr>
            <p:cNvSpPr/>
            <p:nvPr/>
          </p:nvSpPr>
          <p:spPr>
            <a:xfrm>
              <a:off x="810343" y="5536298"/>
              <a:ext cx="1799353" cy="173367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123">
              <a:extLst>
                <a:ext uri="{FF2B5EF4-FFF2-40B4-BE49-F238E27FC236}">
                  <a16:creationId xmlns:a16="http://schemas.microsoft.com/office/drawing/2014/main" id="{51705BAA-6E8C-4325-83EC-0CE51D7C6F50}"/>
                </a:ext>
              </a:extLst>
            </p:cNvPr>
            <p:cNvSpPr/>
            <p:nvPr/>
          </p:nvSpPr>
          <p:spPr>
            <a:xfrm>
              <a:off x="2622372" y="56646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5" h="7620">
                  <a:moveTo>
                    <a:pt x="0" y="7620"/>
                  </a:moveTo>
                  <a:lnTo>
                    <a:pt x="38620" y="7620"/>
                  </a:lnTo>
                  <a:lnTo>
                    <a:pt x="38620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124">
              <a:extLst>
                <a:ext uri="{FF2B5EF4-FFF2-40B4-BE49-F238E27FC236}">
                  <a16:creationId xmlns:a16="http://schemas.microsoft.com/office/drawing/2014/main" id="{CBA52737-4151-4303-A953-D620EB6C5EB6}"/>
                </a:ext>
              </a:extLst>
            </p:cNvPr>
            <p:cNvSpPr/>
            <p:nvPr/>
          </p:nvSpPr>
          <p:spPr>
            <a:xfrm>
              <a:off x="2623007" y="56634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4" h="1270">
                  <a:moveTo>
                    <a:pt x="0" y="1270"/>
                  </a:moveTo>
                  <a:lnTo>
                    <a:pt x="37350" y="1270"/>
                  </a:lnTo>
                  <a:lnTo>
                    <a:pt x="37350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125">
              <a:extLst>
                <a:ext uri="{FF2B5EF4-FFF2-40B4-BE49-F238E27FC236}">
                  <a16:creationId xmlns:a16="http://schemas.microsoft.com/office/drawing/2014/main" id="{694EFA54-55D5-48AA-B970-CEE1FF051A4E}"/>
                </a:ext>
              </a:extLst>
            </p:cNvPr>
            <p:cNvSpPr/>
            <p:nvPr/>
          </p:nvSpPr>
          <p:spPr>
            <a:xfrm>
              <a:off x="2641682" y="5545289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10">
                  <a:moveTo>
                    <a:pt x="0" y="0"/>
                  </a:moveTo>
                  <a:lnTo>
                    <a:pt x="0" y="118109"/>
                  </a:lnTo>
                </a:path>
              </a:pathLst>
            </a:custGeom>
            <a:ln w="10350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126">
              <a:extLst>
                <a:ext uri="{FF2B5EF4-FFF2-40B4-BE49-F238E27FC236}">
                  <a16:creationId xmlns:a16="http://schemas.microsoft.com/office/drawing/2014/main" id="{97C0E27B-7E34-4E5E-9B89-7C669D22E768}"/>
                </a:ext>
              </a:extLst>
            </p:cNvPr>
            <p:cNvSpPr/>
            <p:nvPr/>
          </p:nvSpPr>
          <p:spPr>
            <a:xfrm>
              <a:off x="2630313" y="55440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4" h="1270">
                  <a:moveTo>
                    <a:pt x="0" y="1270"/>
                  </a:moveTo>
                  <a:lnTo>
                    <a:pt x="16544" y="1270"/>
                  </a:lnTo>
                  <a:lnTo>
                    <a:pt x="16544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127">
              <a:extLst>
                <a:ext uri="{FF2B5EF4-FFF2-40B4-BE49-F238E27FC236}">
                  <a16:creationId xmlns:a16="http://schemas.microsoft.com/office/drawing/2014/main" id="{BA5AAB74-F240-420B-B6C3-A83616431189}"/>
                </a:ext>
              </a:extLst>
            </p:cNvPr>
            <p:cNvSpPr/>
            <p:nvPr/>
          </p:nvSpPr>
          <p:spPr>
            <a:xfrm>
              <a:off x="2622372" y="55364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4" h="7620">
                  <a:moveTo>
                    <a:pt x="0" y="7620"/>
                  </a:moveTo>
                  <a:lnTo>
                    <a:pt x="24485" y="7620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128">
              <a:extLst>
                <a:ext uri="{FF2B5EF4-FFF2-40B4-BE49-F238E27FC236}">
                  <a16:creationId xmlns:a16="http://schemas.microsoft.com/office/drawing/2014/main" id="{AB1BF055-4BCF-4459-B1F6-718BDAB93479}"/>
                </a:ext>
              </a:extLst>
            </p:cNvPr>
            <p:cNvSpPr/>
            <p:nvPr/>
          </p:nvSpPr>
          <p:spPr>
            <a:xfrm>
              <a:off x="2716314" y="5536298"/>
              <a:ext cx="444322" cy="137261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129">
              <a:extLst>
                <a:ext uri="{FF2B5EF4-FFF2-40B4-BE49-F238E27FC236}">
                  <a16:creationId xmlns:a16="http://schemas.microsoft.com/office/drawing/2014/main" id="{DC32DFFF-F122-44D3-ADBB-D1FDA8DC00FA}"/>
                </a:ext>
              </a:extLst>
            </p:cNvPr>
            <p:cNvSpPr/>
            <p:nvPr/>
          </p:nvSpPr>
          <p:spPr>
            <a:xfrm>
              <a:off x="3217252" y="5576061"/>
              <a:ext cx="318427" cy="97497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130">
              <a:extLst>
                <a:ext uri="{FF2B5EF4-FFF2-40B4-BE49-F238E27FC236}">
                  <a16:creationId xmlns:a16="http://schemas.microsoft.com/office/drawing/2014/main" id="{B41B237D-853B-4588-B80D-FADE0C3D7E8B}"/>
                </a:ext>
              </a:extLst>
            </p:cNvPr>
            <p:cNvSpPr/>
            <p:nvPr/>
          </p:nvSpPr>
          <p:spPr>
            <a:xfrm>
              <a:off x="3558768" y="5657494"/>
              <a:ext cx="12065" cy="14604"/>
            </a:xfrm>
            <a:custGeom>
              <a:avLst/>
              <a:gdLst/>
              <a:ahLst/>
              <a:cxnLst/>
              <a:rect l="l" t="t" r="r" b="b"/>
              <a:pathLst>
                <a:path w="12064" h="14604">
                  <a:moveTo>
                    <a:pt x="11887" y="14236"/>
                  </a:moveTo>
                  <a:lnTo>
                    <a:pt x="0" y="14236"/>
                  </a:lnTo>
                  <a:lnTo>
                    <a:pt x="0" y="0"/>
                  </a:lnTo>
                  <a:lnTo>
                    <a:pt x="11887" y="0"/>
                  </a:lnTo>
                  <a:lnTo>
                    <a:pt x="11887" y="14236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131">
              <a:extLst>
                <a:ext uri="{FF2B5EF4-FFF2-40B4-BE49-F238E27FC236}">
                  <a16:creationId xmlns:a16="http://schemas.microsoft.com/office/drawing/2014/main" id="{580D230F-F457-47C2-B995-E6C579A1AF92}"/>
                </a:ext>
              </a:extLst>
            </p:cNvPr>
            <p:cNvSpPr/>
            <p:nvPr/>
          </p:nvSpPr>
          <p:spPr>
            <a:xfrm>
              <a:off x="3639070" y="5543499"/>
              <a:ext cx="317398" cy="130048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132">
              <a:extLst>
                <a:ext uri="{FF2B5EF4-FFF2-40B4-BE49-F238E27FC236}">
                  <a16:creationId xmlns:a16="http://schemas.microsoft.com/office/drawing/2014/main" id="{0495767E-58EF-4758-BC5B-056B86D86745}"/>
                </a:ext>
              </a:extLst>
            </p:cNvPr>
            <p:cNvSpPr/>
            <p:nvPr/>
          </p:nvSpPr>
          <p:spPr>
            <a:xfrm>
              <a:off x="845842" y="5842761"/>
              <a:ext cx="75907" cy="97485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133">
              <a:extLst>
                <a:ext uri="{FF2B5EF4-FFF2-40B4-BE49-F238E27FC236}">
                  <a16:creationId xmlns:a16="http://schemas.microsoft.com/office/drawing/2014/main" id="{60AA8344-68F5-419C-BF64-6A7C01DB1692}"/>
                </a:ext>
              </a:extLst>
            </p:cNvPr>
            <p:cNvSpPr/>
            <p:nvPr/>
          </p:nvSpPr>
          <p:spPr>
            <a:xfrm>
              <a:off x="941439" y="5842749"/>
              <a:ext cx="195684" cy="97510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134">
              <a:extLst>
                <a:ext uri="{FF2B5EF4-FFF2-40B4-BE49-F238E27FC236}">
                  <a16:creationId xmlns:a16="http://schemas.microsoft.com/office/drawing/2014/main" id="{FB0BA902-5296-4E92-823D-7F9EB285E209}"/>
                </a:ext>
              </a:extLst>
            </p:cNvPr>
            <p:cNvSpPr/>
            <p:nvPr/>
          </p:nvSpPr>
          <p:spPr>
            <a:xfrm>
              <a:off x="1197275" y="5803100"/>
              <a:ext cx="322533" cy="137160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135">
              <a:extLst>
                <a:ext uri="{FF2B5EF4-FFF2-40B4-BE49-F238E27FC236}">
                  <a16:creationId xmlns:a16="http://schemas.microsoft.com/office/drawing/2014/main" id="{D83E5B64-613F-4608-A6AC-0408FDDB2B67}"/>
                </a:ext>
              </a:extLst>
            </p:cNvPr>
            <p:cNvSpPr/>
            <p:nvPr/>
          </p:nvSpPr>
          <p:spPr>
            <a:xfrm>
              <a:off x="1292694" y="5802998"/>
              <a:ext cx="2663774" cy="137261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136">
              <a:extLst>
                <a:ext uri="{FF2B5EF4-FFF2-40B4-BE49-F238E27FC236}">
                  <a16:creationId xmlns:a16="http://schemas.microsoft.com/office/drawing/2014/main" id="{A142AAA0-105D-4737-89B5-F2F649B198C6}"/>
                </a:ext>
              </a:extLst>
            </p:cNvPr>
            <p:cNvSpPr/>
            <p:nvPr/>
          </p:nvSpPr>
          <p:spPr>
            <a:xfrm>
              <a:off x="538162" y="6069698"/>
              <a:ext cx="3420922" cy="171538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137">
              <a:extLst>
                <a:ext uri="{FF2B5EF4-FFF2-40B4-BE49-F238E27FC236}">
                  <a16:creationId xmlns:a16="http://schemas.microsoft.com/office/drawing/2014/main" id="{12CE32FA-B9BB-42CB-AC34-91185FF5F3B2}"/>
                </a:ext>
              </a:extLst>
            </p:cNvPr>
            <p:cNvSpPr/>
            <p:nvPr/>
          </p:nvSpPr>
          <p:spPr>
            <a:xfrm>
              <a:off x="556568" y="6336398"/>
              <a:ext cx="2674641" cy="173367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138">
              <a:extLst>
                <a:ext uri="{FF2B5EF4-FFF2-40B4-BE49-F238E27FC236}">
                  <a16:creationId xmlns:a16="http://schemas.microsoft.com/office/drawing/2014/main" id="{B0ECCFB7-1744-48C3-A259-74D2E9817D5E}"/>
                </a:ext>
              </a:extLst>
            </p:cNvPr>
            <p:cNvSpPr/>
            <p:nvPr/>
          </p:nvSpPr>
          <p:spPr>
            <a:xfrm>
              <a:off x="3298672" y="6376161"/>
              <a:ext cx="82715" cy="97497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139">
              <a:extLst>
                <a:ext uri="{FF2B5EF4-FFF2-40B4-BE49-F238E27FC236}">
                  <a16:creationId xmlns:a16="http://schemas.microsoft.com/office/drawing/2014/main" id="{53D73696-2593-40E5-8A3D-75FF4D582C73}"/>
                </a:ext>
              </a:extLst>
            </p:cNvPr>
            <p:cNvSpPr/>
            <p:nvPr/>
          </p:nvSpPr>
          <p:spPr>
            <a:xfrm>
              <a:off x="3441052" y="6376161"/>
              <a:ext cx="68580" cy="97790"/>
            </a:xfrm>
            <a:custGeom>
              <a:avLst/>
              <a:gdLst/>
              <a:ahLst/>
              <a:cxnLst/>
              <a:rect l="l" t="t" r="r" b="b"/>
              <a:pathLst>
                <a:path w="68579" h="97789">
                  <a:moveTo>
                    <a:pt x="8407" y="67462"/>
                  </a:moveTo>
                  <a:lnTo>
                    <a:pt x="0" y="67462"/>
                  </a:lnTo>
                  <a:lnTo>
                    <a:pt x="0" y="86385"/>
                  </a:lnTo>
                  <a:lnTo>
                    <a:pt x="4165" y="89916"/>
                  </a:lnTo>
                  <a:lnTo>
                    <a:pt x="9093" y="92646"/>
                  </a:lnTo>
                  <a:lnTo>
                    <a:pt x="20485" y="96532"/>
                  </a:lnTo>
                  <a:lnTo>
                    <a:pt x="26809" y="97497"/>
                  </a:lnTo>
                  <a:lnTo>
                    <a:pt x="33756" y="97497"/>
                  </a:lnTo>
                  <a:lnTo>
                    <a:pt x="60911" y="88722"/>
                  </a:lnTo>
                  <a:lnTo>
                    <a:pt x="29146" y="88722"/>
                  </a:lnTo>
                  <a:lnTo>
                    <a:pt x="24701" y="88112"/>
                  </a:lnTo>
                  <a:lnTo>
                    <a:pt x="16192" y="85610"/>
                  </a:lnTo>
                  <a:lnTo>
                    <a:pt x="12674" y="83604"/>
                  </a:lnTo>
                  <a:lnTo>
                    <a:pt x="9893" y="80822"/>
                  </a:lnTo>
                  <a:lnTo>
                    <a:pt x="8407" y="67462"/>
                  </a:lnTo>
                  <a:close/>
                </a:path>
                <a:path w="68579" h="97789">
                  <a:moveTo>
                    <a:pt x="40131" y="0"/>
                  </a:moveTo>
                  <a:lnTo>
                    <a:pt x="23291" y="0"/>
                  </a:lnTo>
                  <a:lnTo>
                    <a:pt x="15278" y="2463"/>
                  </a:lnTo>
                  <a:lnTo>
                    <a:pt x="3124" y="12369"/>
                  </a:lnTo>
                  <a:lnTo>
                    <a:pt x="76" y="18427"/>
                  </a:lnTo>
                  <a:lnTo>
                    <a:pt x="76" y="32842"/>
                  </a:lnTo>
                  <a:lnTo>
                    <a:pt x="33058" y="52171"/>
                  </a:lnTo>
                  <a:lnTo>
                    <a:pt x="42506" y="54267"/>
                  </a:lnTo>
                  <a:lnTo>
                    <a:pt x="49034" y="56946"/>
                  </a:lnTo>
                  <a:lnTo>
                    <a:pt x="56248" y="63550"/>
                  </a:lnTo>
                  <a:lnTo>
                    <a:pt x="58064" y="67398"/>
                  </a:lnTo>
                  <a:lnTo>
                    <a:pt x="58064" y="76492"/>
                  </a:lnTo>
                  <a:lnTo>
                    <a:pt x="55905" y="80479"/>
                  </a:lnTo>
                  <a:lnTo>
                    <a:pt x="47218" y="87083"/>
                  </a:lnTo>
                  <a:lnTo>
                    <a:pt x="41300" y="88722"/>
                  </a:lnTo>
                  <a:lnTo>
                    <a:pt x="60911" y="88722"/>
                  </a:lnTo>
                  <a:lnTo>
                    <a:pt x="65227" y="85420"/>
                  </a:lnTo>
                  <a:lnTo>
                    <a:pt x="68402" y="79095"/>
                  </a:lnTo>
                  <a:lnTo>
                    <a:pt x="68402" y="63868"/>
                  </a:lnTo>
                  <a:lnTo>
                    <a:pt x="34975" y="43497"/>
                  </a:lnTo>
                  <a:lnTo>
                    <a:pt x="25196" y="41351"/>
                  </a:lnTo>
                  <a:lnTo>
                    <a:pt x="18668" y="38874"/>
                  </a:lnTo>
                  <a:lnTo>
                    <a:pt x="12128" y="33185"/>
                  </a:lnTo>
                  <a:lnTo>
                    <a:pt x="10490" y="29603"/>
                  </a:lnTo>
                  <a:lnTo>
                    <a:pt x="10490" y="20866"/>
                  </a:lnTo>
                  <a:lnTo>
                    <a:pt x="12395" y="17030"/>
                  </a:lnTo>
                  <a:lnTo>
                    <a:pt x="19964" y="10490"/>
                  </a:lnTo>
                  <a:lnTo>
                    <a:pt x="25666" y="8851"/>
                  </a:lnTo>
                  <a:lnTo>
                    <a:pt x="63192" y="8851"/>
                  </a:lnTo>
                  <a:lnTo>
                    <a:pt x="62483" y="8140"/>
                  </a:lnTo>
                  <a:lnTo>
                    <a:pt x="57810" y="5283"/>
                  </a:lnTo>
                  <a:lnTo>
                    <a:pt x="46431" y="1054"/>
                  </a:lnTo>
                  <a:lnTo>
                    <a:pt x="40131" y="0"/>
                  </a:lnTo>
                  <a:close/>
                </a:path>
                <a:path w="68579" h="97789">
                  <a:moveTo>
                    <a:pt x="63192" y="8851"/>
                  </a:moveTo>
                  <a:lnTo>
                    <a:pt x="38392" y="8851"/>
                  </a:lnTo>
                  <a:lnTo>
                    <a:pt x="42951" y="9613"/>
                  </a:lnTo>
                  <a:lnTo>
                    <a:pt x="50876" y="12611"/>
                  </a:lnTo>
                  <a:lnTo>
                    <a:pt x="54165" y="14732"/>
                  </a:lnTo>
                  <a:lnTo>
                    <a:pt x="56768" y="17449"/>
                  </a:lnTo>
                  <a:lnTo>
                    <a:pt x="57988" y="30734"/>
                  </a:lnTo>
                  <a:lnTo>
                    <a:pt x="66497" y="30734"/>
                  </a:lnTo>
                  <a:lnTo>
                    <a:pt x="66052" y="11722"/>
                  </a:lnTo>
                  <a:lnTo>
                    <a:pt x="63192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140">
              <a:extLst>
                <a:ext uri="{FF2B5EF4-FFF2-40B4-BE49-F238E27FC236}">
                  <a16:creationId xmlns:a16="http://schemas.microsoft.com/office/drawing/2014/main" id="{93B1A18F-2E90-494E-ACFD-2CF775066012}"/>
                </a:ext>
              </a:extLst>
            </p:cNvPr>
            <p:cNvSpPr/>
            <p:nvPr/>
          </p:nvSpPr>
          <p:spPr>
            <a:xfrm>
              <a:off x="3525608" y="6353848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5" h="120014">
                  <a:moveTo>
                    <a:pt x="26644" y="32550"/>
                  </a:moveTo>
                  <a:lnTo>
                    <a:pt x="16154" y="32550"/>
                  </a:lnTo>
                  <a:lnTo>
                    <a:pt x="16154" y="102793"/>
                  </a:lnTo>
                  <a:lnTo>
                    <a:pt x="17994" y="109397"/>
                  </a:lnTo>
                  <a:lnTo>
                    <a:pt x="25323" y="117729"/>
                  </a:lnTo>
                  <a:lnTo>
                    <a:pt x="30467" y="119811"/>
                  </a:lnTo>
                  <a:lnTo>
                    <a:pt x="39573" y="119811"/>
                  </a:lnTo>
                  <a:lnTo>
                    <a:pt x="42049" y="119608"/>
                  </a:lnTo>
                  <a:lnTo>
                    <a:pt x="47028" y="118795"/>
                  </a:lnTo>
                  <a:lnTo>
                    <a:pt x="49136" y="118224"/>
                  </a:lnTo>
                  <a:lnTo>
                    <a:pt x="50876" y="117462"/>
                  </a:lnTo>
                  <a:lnTo>
                    <a:pt x="49506" y="110693"/>
                  </a:lnTo>
                  <a:lnTo>
                    <a:pt x="35179" y="110693"/>
                  </a:lnTo>
                  <a:lnTo>
                    <a:pt x="32208" y="109385"/>
                  </a:lnTo>
                  <a:lnTo>
                    <a:pt x="27762" y="104254"/>
                  </a:lnTo>
                  <a:lnTo>
                    <a:pt x="26644" y="99898"/>
                  </a:lnTo>
                  <a:lnTo>
                    <a:pt x="26644" y="32550"/>
                  </a:lnTo>
                  <a:close/>
                </a:path>
                <a:path w="51435" h="120014">
                  <a:moveTo>
                    <a:pt x="49314" y="109740"/>
                  </a:moveTo>
                  <a:lnTo>
                    <a:pt x="47231" y="110083"/>
                  </a:lnTo>
                  <a:lnTo>
                    <a:pt x="45402" y="110337"/>
                  </a:lnTo>
                  <a:lnTo>
                    <a:pt x="42202" y="110617"/>
                  </a:lnTo>
                  <a:lnTo>
                    <a:pt x="40563" y="110693"/>
                  </a:lnTo>
                  <a:lnTo>
                    <a:pt x="49506" y="110693"/>
                  </a:lnTo>
                  <a:lnTo>
                    <a:pt x="49314" y="109740"/>
                  </a:lnTo>
                  <a:close/>
                </a:path>
                <a:path w="51435" h="120014">
                  <a:moveTo>
                    <a:pt x="47307" y="24053"/>
                  </a:moveTo>
                  <a:lnTo>
                    <a:pt x="0" y="24053"/>
                  </a:lnTo>
                  <a:lnTo>
                    <a:pt x="0" y="32550"/>
                  </a:lnTo>
                  <a:lnTo>
                    <a:pt x="47307" y="32550"/>
                  </a:lnTo>
                  <a:lnTo>
                    <a:pt x="47307" y="24053"/>
                  </a:lnTo>
                  <a:close/>
                </a:path>
                <a:path w="51435" h="120014">
                  <a:moveTo>
                    <a:pt x="26644" y="0"/>
                  </a:moveTo>
                  <a:lnTo>
                    <a:pt x="16154" y="0"/>
                  </a:lnTo>
                  <a:lnTo>
                    <a:pt x="16154" y="24053"/>
                  </a:lnTo>
                  <a:lnTo>
                    <a:pt x="26644" y="24053"/>
                  </a:lnTo>
                  <a:lnTo>
                    <a:pt x="26644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141">
              <a:extLst>
                <a:ext uri="{FF2B5EF4-FFF2-40B4-BE49-F238E27FC236}">
                  <a16:creationId xmlns:a16="http://schemas.microsoft.com/office/drawing/2014/main" id="{5B639EB1-F490-4F6F-B2FF-C15716AFECA2}"/>
                </a:ext>
              </a:extLst>
            </p:cNvPr>
            <p:cNvSpPr/>
            <p:nvPr/>
          </p:nvSpPr>
          <p:spPr>
            <a:xfrm>
              <a:off x="3591318" y="6376149"/>
              <a:ext cx="59055" cy="95885"/>
            </a:xfrm>
            <a:custGeom>
              <a:avLst/>
              <a:gdLst/>
              <a:ahLst/>
              <a:cxnLst/>
              <a:rect l="l" t="t" r="r" b="b"/>
              <a:pathLst>
                <a:path w="59054" h="95885">
                  <a:moveTo>
                    <a:pt x="23190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60" y="10591"/>
                  </a:lnTo>
                  <a:lnTo>
                    <a:pt x="14160" y="86906"/>
                  </a:lnTo>
                  <a:lnTo>
                    <a:pt x="0" y="88036"/>
                  </a:lnTo>
                  <a:lnTo>
                    <a:pt x="0" y="95669"/>
                  </a:lnTo>
                  <a:lnTo>
                    <a:pt x="38646" y="95669"/>
                  </a:lnTo>
                  <a:lnTo>
                    <a:pt x="38646" y="88036"/>
                  </a:lnTo>
                  <a:lnTo>
                    <a:pt x="24485" y="86906"/>
                  </a:lnTo>
                  <a:lnTo>
                    <a:pt x="24485" y="30822"/>
                  </a:lnTo>
                  <a:lnTo>
                    <a:pt x="26289" y="24396"/>
                  </a:lnTo>
                  <a:lnTo>
                    <a:pt x="29273" y="19354"/>
                  </a:lnTo>
                  <a:lnTo>
                    <a:pt x="30260" y="18491"/>
                  </a:lnTo>
                  <a:lnTo>
                    <a:pt x="24485" y="18491"/>
                  </a:lnTo>
                  <a:lnTo>
                    <a:pt x="24485" y="17360"/>
                  </a:lnTo>
                  <a:lnTo>
                    <a:pt x="23190" y="1739"/>
                  </a:lnTo>
                  <a:close/>
                </a:path>
                <a:path w="59054" h="95885">
                  <a:moveTo>
                    <a:pt x="53086" y="0"/>
                  </a:moveTo>
                  <a:lnTo>
                    <a:pt x="45440" y="0"/>
                  </a:lnTo>
                  <a:lnTo>
                    <a:pt x="39979" y="1638"/>
                  </a:lnTo>
                  <a:lnTo>
                    <a:pt x="30784" y="8178"/>
                  </a:lnTo>
                  <a:lnTo>
                    <a:pt x="27152" y="12700"/>
                  </a:lnTo>
                  <a:lnTo>
                    <a:pt x="24485" y="18491"/>
                  </a:lnTo>
                  <a:lnTo>
                    <a:pt x="30260" y="18491"/>
                  </a:lnTo>
                  <a:lnTo>
                    <a:pt x="37680" y="12001"/>
                  </a:lnTo>
                  <a:lnTo>
                    <a:pt x="43027" y="10160"/>
                  </a:lnTo>
                  <a:lnTo>
                    <a:pt x="57376" y="10160"/>
                  </a:lnTo>
                  <a:lnTo>
                    <a:pt x="58686" y="952"/>
                  </a:lnTo>
                  <a:lnTo>
                    <a:pt x="57886" y="723"/>
                  </a:lnTo>
                  <a:lnTo>
                    <a:pt x="56845" y="508"/>
                  </a:lnTo>
                  <a:lnTo>
                    <a:pt x="54368" y="101"/>
                  </a:lnTo>
                  <a:lnTo>
                    <a:pt x="53086" y="0"/>
                  </a:lnTo>
                  <a:close/>
                </a:path>
                <a:path w="59054" h="95885">
                  <a:moveTo>
                    <a:pt x="57376" y="10160"/>
                  </a:moveTo>
                  <a:lnTo>
                    <a:pt x="49580" y="10160"/>
                  </a:lnTo>
                  <a:lnTo>
                    <a:pt x="57302" y="10680"/>
                  </a:lnTo>
                  <a:lnTo>
                    <a:pt x="57376" y="1016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142">
              <a:extLst>
                <a:ext uri="{FF2B5EF4-FFF2-40B4-BE49-F238E27FC236}">
                  <a16:creationId xmlns:a16="http://schemas.microsoft.com/office/drawing/2014/main" id="{46371261-CC98-48A8-9BB6-C6460F90F54E}"/>
                </a:ext>
              </a:extLst>
            </p:cNvPr>
            <p:cNvSpPr/>
            <p:nvPr/>
          </p:nvSpPr>
          <p:spPr>
            <a:xfrm>
              <a:off x="3661740" y="6376161"/>
              <a:ext cx="83185" cy="97790"/>
            </a:xfrm>
            <a:custGeom>
              <a:avLst/>
              <a:gdLst/>
              <a:ahLst/>
              <a:cxnLst/>
              <a:rect l="l" t="t" r="r" b="b"/>
              <a:pathLst>
                <a:path w="83185" h="97789">
                  <a:moveTo>
                    <a:pt x="41490" y="0"/>
                  </a:moveTo>
                  <a:lnTo>
                    <a:pt x="6391" y="20391"/>
                  </a:lnTo>
                  <a:lnTo>
                    <a:pt x="0" y="47307"/>
                  </a:lnTo>
                  <a:lnTo>
                    <a:pt x="0" y="50177"/>
                  </a:lnTo>
                  <a:lnTo>
                    <a:pt x="17519" y="90045"/>
                  </a:lnTo>
                  <a:lnTo>
                    <a:pt x="41668" y="97497"/>
                  </a:lnTo>
                  <a:lnTo>
                    <a:pt x="50577" y="96669"/>
                  </a:lnTo>
                  <a:lnTo>
                    <a:pt x="58559" y="94184"/>
                  </a:lnTo>
                  <a:lnTo>
                    <a:pt x="65618" y="90045"/>
                  </a:lnTo>
                  <a:lnTo>
                    <a:pt x="67019" y="88722"/>
                  </a:lnTo>
                  <a:lnTo>
                    <a:pt x="41668" y="88722"/>
                  </a:lnTo>
                  <a:lnTo>
                    <a:pt x="34693" y="88027"/>
                  </a:lnTo>
                  <a:lnTo>
                    <a:pt x="10930" y="58009"/>
                  </a:lnTo>
                  <a:lnTo>
                    <a:pt x="10413" y="50177"/>
                  </a:lnTo>
                  <a:lnTo>
                    <a:pt x="10413" y="47307"/>
                  </a:lnTo>
                  <a:lnTo>
                    <a:pt x="28490" y="11652"/>
                  </a:lnTo>
                  <a:lnTo>
                    <a:pt x="41490" y="8851"/>
                  </a:lnTo>
                  <a:lnTo>
                    <a:pt x="67014" y="8851"/>
                  </a:lnTo>
                  <a:lnTo>
                    <a:pt x="65551" y="7468"/>
                  </a:lnTo>
                  <a:lnTo>
                    <a:pt x="58464" y="3317"/>
                  </a:lnTo>
                  <a:lnTo>
                    <a:pt x="50444" y="829"/>
                  </a:lnTo>
                  <a:lnTo>
                    <a:pt x="41490" y="0"/>
                  </a:lnTo>
                  <a:close/>
                </a:path>
                <a:path w="83185" h="97789">
                  <a:moveTo>
                    <a:pt x="67014" y="8851"/>
                  </a:moveTo>
                  <a:lnTo>
                    <a:pt x="41490" y="8851"/>
                  </a:lnTo>
                  <a:lnTo>
                    <a:pt x="48391" y="9551"/>
                  </a:lnTo>
                  <a:lnTo>
                    <a:pt x="54503" y="11652"/>
                  </a:lnTo>
                  <a:lnTo>
                    <a:pt x="72643" y="47307"/>
                  </a:lnTo>
                  <a:lnTo>
                    <a:pt x="72643" y="50177"/>
                  </a:lnTo>
                  <a:lnTo>
                    <a:pt x="51320" y="88722"/>
                  </a:lnTo>
                  <a:lnTo>
                    <a:pt x="67019" y="88722"/>
                  </a:lnTo>
                  <a:lnTo>
                    <a:pt x="83070" y="50177"/>
                  </a:lnTo>
                  <a:lnTo>
                    <a:pt x="83070" y="47307"/>
                  </a:lnTo>
                  <a:lnTo>
                    <a:pt x="82359" y="37406"/>
                  </a:lnTo>
                  <a:lnTo>
                    <a:pt x="80225" y="28433"/>
                  </a:lnTo>
                  <a:lnTo>
                    <a:pt x="76673" y="20391"/>
                  </a:lnTo>
                  <a:lnTo>
                    <a:pt x="71704" y="13284"/>
                  </a:lnTo>
                  <a:lnTo>
                    <a:pt x="67014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143">
              <a:extLst>
                <a:ext uri="{FF2B5EF4-FFF2-40B4-BE49-F238E27FC236}">
                  <a16:creationId xmlns:a16="http://schemas.microsoft.com/office/drawing/2014/main" id="{F34993B2-2A60-4797-9569-28F8FE519135}"/>
                </a:ext>
              </a:extLst>
            </p:cNvPr>
            <p:cNvSpPr/>
            <p:nvPr/>
          </p:nvSpPr>
          <p:spPr>
            <a:xfrm>
              <a:off x="3759847" y="6376149"/>
              <a:ext cx="100330" cy="95885"/>
            </a:xfrm>
            <a:custGeom>
              <a:avLst/>
              <a:gdLst/>
              <a:ahLst/>
              <a:cxnLst/>
              <a:rect l="l" t="t" r="r" b="b"/>
              <a:pathLst>
                <a:path w="100329" h="95885">
                  <a:moveTo>
                    <a:pt x="23342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35" y="10591"/>
                  </a:lnTo>
                  <a:lnTo>
                    <a:pt x="14135" y="86906"/>
                  </a:lnTo>
                  <a:lnTo>
                    <a:pt x="0" y="88036"/>
                  </a:lnTo>
                  <a:lnTo>
                    <a:pt x="0" y="95681"/>
                  </a:lnTo>
                  <a:lnTo>
                    <a:pt x="38722" y="95681"/>
                  </a:lnTo>
                  <a:lnTo>
                    <a:pt x="38722" y="88036"/>
                  </a:lnTo>
                  <a:lnTo>
                    <a:pt x="24561" y="86906"/>
                  </a:lnTo>
                  <a:lnTo>
                    <a:pt x="24561" y="30124"/>
                  </a:lnTo>
                  <a:lnTo>
                    <a:pt x="26593" y="23761"/>
                  </a:lnTo>
                  <a:lnTo>
                    <a:pt x="29908" y="18656"/>
                  </a:lnTo>
                  <a:lnTo>
                    <a:pt x="30513" y="18148"/>
                  </a:lnTo>
                  <a:lnTo>
                    <a:pt x="24307" y="18148"/>
                  </a:lnTo>
                  <a:lnTo>
                    <a:pt x="23342" y="1739"/>
                  </a:lnTo>
                  <a:close/>
                </a:path>
                <a:path w="100329" h="95885">
                  <a:moveTo>
                    <a:pt x="77693" y="9029"/>
                  </a:moveTo>
                  <a:lnTo>
                    <a:pt x="59753" y="9029"/>
                  </a:lnTo>
                  <a:lnTo>
                    <a:pt x="65455" y="11264"/>
                  </a:lnTo>
                  <a:lnTo>
                    <a:pt x="73520" y="20167"/>
                  </a:lnTo>
                  <a:lnTo>
                    <a:pt x="75526" y="27787"/>
                  </a:lnTo>
                  <a:lnTo>
                    <a:pt x="75526" y="86906"/>
                  </a:lnTo>
                  <a:lnTo>
                    <a:pt x="61366" y="88036"/>
                  </a:lnTo>
                  <a:lnTo>
                    <a:pt x="61366" y="95681"/>
                  </a:lnTo>
                  <a:lnTo>
                    <a:pt x="100088" y="95681"/>
                  </a:lnTo>
                  <a:lnTo>
                    <a:pt x="100088" y="88036"/>
                  </a:lnTo>
                  <a:lnTo>
                    <a:pt x="85953" y="86906"/>
                  </a:lnTo>
                  <a:lnTo>
                    <a:pt x="85953" y="38468"/>
                  </a:lnTo>
                  <a:lnTo>
                    <a:pt x="85451" y="29224"/>
                  </a:lnTo>
                  <a:lnTo>
                    <a:pt x="83950" y="21288"/>
                  </a:lnTo>
                  <a:lnTo>
                    <a:pt x="81453" y="14661"/>
                  </a:lnTo>
                  <a:lnTo>
                    <a:pt x="77965" y="9347"/>
                  </a:lnTo>
                  <a:lnTo>
                    <a:pt x="77693" y="9029"/>
                  </a:lnTo>
                  <a:close/>
                </a:path>
                <a:path w="100329" h="95885">
                  <a:moveTo>
                    <a:pt x="64858" y="0"/>
                  </a:moveTo>
                  <a:lnTo>
                    <a:pt x="47675" y="0"/>
                  </a:lnTo>
                  <a:lnTo>
                    <a:pt x="41617" y="1574"/>
                  </a:lnTo>
                  <a:lnTo>
                    <a:pt x="31381" y="7886"/>
                  </a:lnTo>
                  <a:lnTo>
                    <a:pt x="27305" y="12357"/>
                  </a:lnTo>
                  <a:lnTo>
                    <a:pt x="24307" y="18148"/>
                  </a:lnTo>
                  <a:lnTo>
                    <a:pt x="30513" y="18148"/>
                  </a:lnTo>
                  <a:lnTo>
                    <a:pt x="39116" y="10960"/>
                  </a:lnTo>
                  <a:lnTo>
                    <a:pt x="45046" y="9029"/>
                  </a:lnTo>
                  <a:lnTo>
                    <a:pt x="77693" y="9029"/>
                  </a:lnTo>
                  <a:lnTo>
                    <a:pt x="72631" y="3111"/>
                  </a:lnTo>
                  <a:lnTo>
                    <a:pt x="64858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144">
              <a:extLst>
                <a:ext uri="{FF2B5EF4-FFF2-40B4-BE49-F238E27FC236}">
                  <a16:creationId xmlns:a16="http://schemas.microsoft.com/office/drawing/2014/main" id="{FFD4413A-C8B7-46A6-976D-A81B9742B78B}"/>
                </a:ext>
              </a:extLst>
            </p:cNvPr>
            <p:cNvSpPr/>
            <p:nvPr/>
          </p:nvSpPr>
          <p:spPr>
            <a:xfrm>
              <a:off x="3875836" y="6376161"/>
              <a:ext cx="76200" cy="133985"/>
            </a:xfrm>
            <a:custGeom>
              <a:avLst/>
              <a:gdLst/>
              <a:ahLst/>
              <a:cxnLst/>
              <a:rect l="l" t="t" r="r" b="b"/>
              <a:pathLst>
                <a:path w="76200" h="133984">
                  <a:moveTo>
                    <a:pt x="13360" y="118681"/>
                  </a:moveTo>
                  <a:lnTo>
                    <a:pt x="33934" y="133604"/>
                  </a:lnTo>
                  <a:lnTo>
                    <a:pt x="38442" y="133604"/>
                  </a:lnTo>
                  <a:lnTo>
                    <a:pt x="46737" y="132948"/>
                  </a:lnTo>
                  <a:lnTo>
                    <a:pt x="54059" y="130981"/>
                  </a:lnTo>
                  <a:lnTo>
                    <a:pt x="60411" y="127699"/>
                  </a:lnTo>
                  <a:lnTo>
                    <a:pt x="64370" y="124320"/>
                  </a:lnTo>
                  <a:lnTo>
                    <a:pt x="33705" y="124320"/>
                  </a:lnTo>
                  <a:lnTo>
                    <a:pt x="29336" y="123825"/>
                  </a:lnTo>
                  <a:lnTo>
                    <a:pt x="21081" y="121869"/>
                  </a:lnTo>
                  <a:lnTo>
                    <a:pt x="17106" y="120472"/>
                  </a:lnTo>
                  <a:lnTo>
                    <a:pt x="13360" y="118681"/>
                  </a:lnTo>
                  <a:close/>
                </a:path>
                <a:path w="76200" h="133984">
                  <a:moveTo>
                    <a:pt x="75603" y="82562"/>
                  </a:moveTo>
                  <a:lnTo>
                    <a:pt x="65176" y="82562"/>
                  </a:lnTo>
                  <a:lnTo>
                    <a:pt x="65176" y="103835"/>
                  </a:lnTo>
                  <a:lnTo>
                    <a:pt x="62928" y="111150"/>
                  </a:lnTo>
                  <a:lnTo>
                    <a:pt x="53898" y="121691"/>
                  </a:lnTo>
                  <a:lnTo>
                    <a:pt x="47193" y="124320"/>
                  </a:lnTo>
                  <a:lnTo>
                    <a:pt x="64370" y="124320"/>
                  </a:lnTo>
                  <a:lnTo>
                    <a:pt x="75477" y="96202"/>
                  </a:lnTo>
                  <a:lnTo>
                    <a:pt x="75603" y="82562"/>
                  </a:lnTo>
                  <a:close/>
                </a:path>
                <a:path w="76200" h="133984">
                  <a:moveTo>
                    <a:pt x="42862" y="0"/>
                  </a:moveTo>
                  <a:lnTo>
                    <a:pt x="36182" y="0"/>
                  </a:lnTo>
                  <a:lnTo>
                    <a:pt x="28144" y="843"/>
                  </a:lnTo>
                  <a:lnTo>
                    <a:pt x="2400" y="29241"/>
                  </a:lnTo>
                  <a:lnTo>
                    <a:pt x="0" y="49479"/>
                  </a:lnTo>
                  <a:lnTo>
                    <a:pt x="0" y="51308"/>
                  </a:lnTo>
                  <a:lnTo>
                    <a:pt x="14777" y="90420"/>
                  </a:lnTo>
                  <a:lnTo>
                    <a:pt x="36017" y="97497"/>
                  </a:lnTo>
                  <a:lnTo>
                    <a:pt x="42557" y="97497"/>
                  </a:lnTo>
                  <a:lnTo>
                    <a:pt x="48259" y="96202"/>
                  </a:lnTo>
                  <a:lnTo>
                    <a:pt x="57988" y="91059"/>
                  </a:lnTo>
                  <a:lnTo>
                    <a:pt x="60801" y="88468"/>
                  </a:lnTo>
                  <a:lnTo>
                    <a:pt x="28790" y="88468"/>
                  </a:lnTo>
                  <a:lnTo>
                    <a:pt x="21920" y="85090"/>
                  </a:lnTo>
                  <a:lnTo>
                    <a:pt x="10413" y="51308"/>
                  </a:lnTo>
                  <a:lnTo>
                    <a:pt x="10413" y="49479"/>
                  </a:lnTo>
                  <a:lnTo>
                    <a:pt x="22047" y="12788"/>
                  </a:lnTo>
                  <a:lnTo>
                    <a:pt x="28968" y="9029"/>
                  </a:lnTo>
                  <a:lnTo>
                    <a:pt x="60091" y="9029"/>
                  </a:lnTo>
                  <a:lnTo>
                    <a:pt x="58407" y="7302"/>
                  </a:lnTo>
                  <a:lnTo>
                    <a:pt x="48615" y="1460"/>
                  </a:lnTo>
                  <a:lnTo>
                    <a:pt x="42862" y="0"/>
                  </a:lnTo>
                  <a:close/>
                </a:path>
                <a:path w="76200" h="133984">
                  <a:moveTo>
                    <a:pt x="60091" y="9029"/>
                  </a:moveTo>
                  <a:lnTo>
                    <a:pt x="45161" y="9029"/>
                  </a:lnTo>
                  <a:lnTo>
                    <a:pt x="50876" y="10756"/>
                  </a:lnTo>
                  <a:lnTo>
                    <a:pt x="59550" y="17640"/>
                  </a:lnTo>
                  <a:lnTo>
                    <a:pt x="62877" y="22110"/>
                  </a:lnTo>
                  <a:lnTo>
                    <a:pt x="65176" y="27609"/>
                  </a:lnTo>
                  <a:lnTo>
                    <a:pt x="65176" y="71183"/>
                  </a:lnTo>
                  <a:lnTo>
                    <a:pt x="62750" y="76568"/>
                  </a:lnTo>
                  <a:lnTo>
                    <a:pt x="59308" y="80797"/>
                  </a:lnTo>
                  <a:lnTo>
                    <a:pt x="50330" y="86931"/>
                  </a:lnTo>
                  <a:lnTo>
                    <a:pt x="44691" y="88468"/>
                  </a:lnTo>
                  <a:lnTo>
                    <a:pt x="60801" y="88468"/>
                  </a:lnTo>
                  <a:lnTo>
                    <a:pt x="62001" y="87363"/>
                  </a:lnTo>
                  <a:lnTo>
                    <a:pt x="65176" y="82562"/>
                  </a:lnTo>
                  <a:lnTo>
                    <a:pt x="75603" y="82562"/>
                  </a:lnTo>
                  <a:lnTo>
                    <a:pt x="75603" y="16751"/>
                  </a:lnTo>
                  <a:lnTo>
                    <a:pt x="65633" y="16751"/>
                  </a:lnTo>
                  <a:lnTo>
                    <a:pt x="62433" y="11430"/>
                  </a:lnTo>
                  <a:lnTo>
                    <a:pt x="60091" y="9029"/>
                  </a:lnTo>
                  <a:close/>
                </a:path>
                <a:path w="76200" h="133984">
                  <a:moveTo>
                    <a:pt x="75603" y="1739"/>
                  </a:moveTo>
                  <a:lnTo>
                    <a:pt x="66840" y="1739"/>
                  </a:lnTo>
                  <a:lnTo>
                    <a:pt x="65633" y="16751"/>
                  </a:lnTo>
                  <a:lnTo>
                    <a:pt x="75603" y="16751"/>
                  </a:lnTo>
                  <a:lnTo>
                    <a:pt x="75603" y="173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145">
              <a:extLst>
                <a:ext uri="{FF2B5EF4-FFF2-40B4-BE49-F238E27FC236}">
                  <a16:creationId xmlns:a16="http://schemas.microsoft.com/office/drawing/2014/main" id="{9AF5896A-A941-4F5E-BDD6-3FAD6CFD3E08}"/>
                </a:ext>
              </a:extLst>
            </p:cNvPr>
            <p:cNvSpPr/>
            <p:nvPr/>
          </p:nvSpPr>
          <p:spPr>
            <a:xfrm>
              <a:off x="689921" y="6644602"/>
              <a:ext cx="93345" cy="93980"/>
            </a:xfrm>
            <a:custGeom>
              <a:avLst/>
              <a:gdLst/>
              <a:ahLst/>
              <a:cxnLst/>
              <a:rect l="l" t="t" r="r" b="b"/>
              <a:pathLst>
                <a:path w="93345" h="93979">
                  <a:moveTo>
                    <a:pt x="31597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9194" y="8509"/>
                  </a:lnTo>
                  <a:lnTo>
                    <a:pt x="42456" y="93929"/>
                  </a:lnTo>
                  <a:lnTo>
                    <a:pt x="50799" y="93929"/>
                  </a:lnTo>
                  <a:lnTo>
                    <a:pt x="55651" y="81432"/>
                  </a:lnTo>
                  <a:lnTo>
                    <a:pt x="46354" y="81432"/>
                  </a:lnTo>
                  <a:lnTo>
                    <a:pt x="43332" y="70408"/>
                  </a:lnTo>
                  <a:lnTo>
                    <a:pt x="19888" y="8585"/>
                  </a:lnTo>
                  <a:lnTo>
                    <a:pt x="31597" y="7721"/>
                  </a:lnTo>
                  <a:lnTo>
                    <a:pt x="31597" y="0"/>
                  </a:lnTo>
                  <a:close/>
                </a:path>
                <a:path w="93345" h="93979">
                  <a:moveTo>
                    <a:pt x="93167" y="0"/>
                  </a:moveTo>
                  <a:lnTo>
                    <a:pt x="61556" y="0"/>
                  </a:lnTo>
                  <a:lnTo>
                    <a:pt x="61556" y="7721"/>
                  </a:lnTo>
                  <a:lnTo>
                    <a:pt x="73266" y="8585"/>
                  </a:lnTo>
                  <a:lnTo>
                    <a:pt x="50177" y="70408"/>
                  </a:lnTo>
                  <a:lnTo>
                    <a:pt x="46875" y="81432"/>
                  </a:lnTo>
                  <a:lnTo>
                    <a:pt x="55651" y="81432"/>
                  </a:lnTo>
                  <a:lnTo>
                    <a:pt x="83959" y="8509"/>
                  </a:lnTo>
                  <a:lnTo>
                    <a:pt x="93167" y="7721"/>
                  </a:lnTo>
                  <a:lnTo>
                    <a:pt x="93167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146">
              <a:extLst>
                <a:ext uri="{FF2B5EF4-FFF2-40B4-BE49-F238E27FC236}">
                  <a16:creationId xmlns:a16="http://schemas.microsoft.com/office/drawing/2014/main" id="{A93771BB-C4DF-4312-8092-9717395C3229}"/>
                </a:ext>
              </a:extLst>
            </p:cNvPr>
            <p:cNvSpPr/>
            <p:nvPr/>
          </p:nvSpPr>
          <p:spPr>
            <a:xfrm>
              <a:off x="793851" y="6603098"/>
              <a:ext cx="38735" cy="135890"/>
            </a:xfrm>
            <a:custGeom>
              <a:avLst/>
              <a:gdLst/>
              <a:ahLst/>
              <a:cxnLst/>
              <a:rect l="l" t="t" r="r" b="b"/>
              <a:pathLst>
                <a:path w="38734" h="135890">
                  <a:moveTo>
                    <a:pt x="24485" y="0"/>
                  </a:moveTo>
                  <a:lnTo>
                    <a:pt x="14147" y="0"/>
                  </a:lnTo>
                  <a:lnTo>
                    <a:pt x="14147" y="14579"/>
                  </a:lnTo>
                  <a:lnTo>
                    <a:pt x="24485" y="14579"/>
                  </a:lnTo>
                  <a:lnTo>
                    <a:pt x="24485" y="0"/>
                  </a:lnTo>
                  <a:close/>
                </a:path>
                <a:path w="38734" h="135890">
                  <a:moveTo>
                    <a:pt x="24485" y="41490"/>
                  </a:moveTo>
                  <a:lnTo>
                    <a:pt x="0" y="41490"/>
                  </a:lnTo>
                  <a:lnTo>
                    <a:pt x="0" y="49225"/>
                  </a:lnTo>
                  <a:lnTo>
                    <a:pt x="14135" y="50355"/>
                  </a:lnTo>
                  <a:lnTo>
                    <a:pt x="14135" y="126657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20" y="135432"/>
                  </a:lnTo>
                  <a:lnTo>
                    <a:pt x="38620" y="127787"/>
                  </a:lnTo>
                  <a:lnTo>
                    <a:pt x="24485" y="126657"/>
                  </a:lnTo>
                  <a:lnTo>
                    <a:pt x="24485" y="4149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147">
              <a:extLst>
                <a:ext uri="{FF2B5EF4-FFF2-40B4-BE49-F238E27FC236}">
                  <a16:creationId xmlns:a16="http://schemas.microsoft.com/office/drawing/2014/main" id="{87523AD7-9A6F-4FE4-BF96-1EDCBEBE505A}"/>
                </a:ext>
              </a:extLst>
            </p:cNvPr>
            <p:cNvSpPr/>
            <p:nvPr/>
          </p:nvSpPr>
          <p:spPr>
            <a:xfrm>
              <a:off x="849241" y="6642849"/>
              <a:ext cx="59055" cy="95885"/>
            </a:xfrm>
            <a:custGeom>
              <a:avLst/>
              <a:gdLst/>
              <a:ahLst/>
              <a:cxnLst/>
              <a:rect l="l" t="t" r="r" b="b"/>
              <a:pathLst>
                <a:path w="59055" h="95884">
                  <a:moveTo>
                    <a:pt x="23164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35" y="10591"/>
                  </a:lnTo>
                  <a:lnTo>
                    <a:pt x="14135" y="86906"/>
                  </a:lnTo>
                  <a:lnTo>
                    <a:pt x="0" y="88036"/>
                  </a:lnTo>
                  <a:lnTo>
                    <a:pt x="0" y="95669"/>
                  </a:lnTo>
                  <a:lnTo>
                    <a:pt x="38620" y="95669"/>
                  </a:lnTo>
                  <a:lnTo>
                    <a:pt x="38620" y="88036"/>
                  </a:lnTo>
                  <a:lnTo>
                    <a:pt x="24485" y="86906"/>
                  </a:lnTo>
                  <a:lnTo>
                    <a:pt x="24485" y="30822"/>
                  </a:lnTo>
                  <a:lnTo>
                    <a:pt x="26263" y="24396"/>
                  </a:lnTo>
                  <a:lnTo>
                    <a:pt x="29260" y="19354"/>
                  </a:lnTo>
                  <a:lnTo>
                    <a:pt x="30246" y="18491"/>
                  </a:lnTo>
                  <a:lnTo>
                    <a:pt x="24485" y="18491"/>
                  </a:lnTo>
                  <a:lnTo>
                    <a:pt x="24485" y="17360"/>
                  </a:lnTo>
                  <a:lnTo>
                    <a:pt x="23164" y="1739"/>
                  </a:lnTo>
                  <a:close/>
                </a:path>
                <a:path w="59055" h="95884">
                  <a:moveTo>
                    <a:pt x="53060" y="0"/>
                  </a:moveTo>
                  <a:lnTo>
                    <a:pt x="45427" y="0"/>
                  </a:lnTo>
                  <a:lnTo>
                    <a:pt x="39966" y="1638"/>
                  </a:lnTo>
                  <a:lnTo>
                    <a:pt x="30772" y="8178"/>
                  </a:lnTo>
                  <a:lnTo>
                    <a:pt x="27127" y="12700"/>
                  </a:lnTo>
                  <a:lnTo>
                    <a:pt x="24485" y="18491"/>
                  </a:lnTo>
                  <a:lnTo>
                    <a:pt x="30246" y="18491"/>
                  </a:lnTo>
                  <a:lnTo>
                    <a:pt x="37655" y="12001"/>
                  </a:lnTo>
                  <a:lnTo>
                    <a:pt x="43014" y="10160"/>
                  </a:lnTo>
                  <a:lnTo>
                    <a:pt x="57376" y="10160"/>
                  </a:lnTo>
                  <a:lnTo>
                    <a:pt x="58686" y="952"/>
                  </a:lnTo>
                  <a:lnTo>
                    <a:pt x="57861" y="723"/>
                  </a:lnTo>
                  <a:lnTo>
                    <a:pt x="56845" y="508"/>
                  </a:lnTo>
                  <a:lnTo>
                    <a:pt x="54343" y="101"/>
                  </a:lnTo>
                  <a:lnTo>
                    <a:pt x="53060" y="0"/>
                  </a:lnTo>
                  <a:close/>
                </a:path>
                <a:path w="59055" h="95884">
                  <a:moveTo>
                    <a:pt x="57376" y="10160"/>
                  </a:moveTo>
                  <a:lnTo>
                    <a:pt x="49555" y="10160"/>
                  </a:lnTo>
                  <a:lnTo>
                    <a:pt x="57302" y="10680"/>
                  </a:lnTo>
                  <a:lnTo>
                    <a:pt x="57376" y="1016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148">
              <a:extLst>
                <a:ext uri="{FF2B5EF4-FFF2-40B4-BE49-F238E27FC236}">
                  <a16:creationId xmlns:a16="http://schemas.microsoft.com/office/drawing/2014/main" id="{D24F9EC7-1A1E-4C73-A103-872CA3C70435}"/>
                </a:ext>
              </a:extLst>
            </p:cNvPr>
            <p:cNvSpPr/>
            <p:nvPr/>
          </p:nvSpPr>
          <p:spPr>
            <a:xfrm>
              <a:off x="921993" y="6642861"/>
              <a:ext cx="83185" cy="97790"/>
            </a:xfrm>
            <a:custGeom>
              <a:avLst/>
              <a:gdLst/>
              <a:ahLst/>
              <a:cxnLst/>
              <a:rect l="l" t="t" r="r" b="b"/>
              <a:pathLst>
                <a:path w="83184" h="97790">
                  <a:moveTo>
                    <a:pt x="64333" y="8851"/>
                  </a:moveTo>
                  <a:lnTo>
                    <a:pt x="45516" y="8851"/>
                  </a:lnTo>
                  <a:lnTo>
                    <a:pt x="51536" y="10769"/>
                  </a:lnTo>
                  <a:lnTo>
                    <a:pt x="60172" y="18402"/>
                  </a:lnTo>
                  <a:lnTo>
                    <a:pt x="62331" y="23672"/>
                  </a:lnTo>
                  <a:lnTo>
                    <a:pt x="62331" y="42799"/>
                  </a:lnTo>
                  <a:lnTo>
                    <a:pt x="41567" y="42799"/>
                  </a:lnTo>
                  <a:lnTo>
                    <a:pt x="32475" y="43275"/>
                  </a:lnTo>
                  <a:lnTo>
                    <a:pt x="0" y="62420"/>
                  </a:lnTo>
                  <a:lnTo>
                    <a:pt x="0" y="79197"/>
                  </a:lnTo>
                  <a:lnTo>
                    <a:pt x="2501" y="85623"/>
                  </a:lnTo>
                  <a:lnTo>
                    <a:pt x="12572" y="95123"/>
                  </a:lnTo>
                  <a:lnTo>
                    <a:pt x="19697" y="97497"/>
                  </a:lnTo>
                  <a:lnTo>
                    <a:pt x="36131" y="97497"/>
                  </a:lnTo>
                  <a:lnTo>
                    <a:pt x="42646" y="95872"/>
                  </a:lnTo>
                  <a:lnTo>
                    <a:pt x="54216" y="89395"/>
                  </a:lnTo>
                  <a:lnTo>
                    <a:pt x="55476" y="88290"/>
                  </a:lnTo>
                  <a:lnTo>
                    <a:pt x="23901" y="88290"/>
                  </a:lnTo>
                  <a:lnTo>
                    <a:pt x="19075" y="86741"/>
                  </a:lnTo>
                  <a:lnTo>
                    <a:pt x="12077" y="80556"/>
                  </a:lnTo>
                  <a:lnTo>
                    <a:pt x="10312" y="76479"/>
                  </a:lnTo>
                  <a:lnTo>
                    <a:pt x="10312" y="65481"/>
                  </a:lnTo>
                  <a:lnTo>
                    <a:pt x="13144" y="60553"/>
                  </a:lnTo>
                  <a:lnTo>
                    <a:pt x="24434" y="52743"/>
                  </a:lnTo>
                  <a:lnTo>
                    <a:pt x="31965" y="50787"/>
                  </a:lnTo>
                  <a:lnTo>
                    <a:pt x="72643" y="50787"/>
                  </a:lnTo>
                  <a:lnTo>
                    <a:pt x="72643" y="20726"/>
                  </a:lnTo>
                  <a:lnTo>
                    <a:pt x="69494" y="13169"/>
                  </a:lnTo>
                  <a:lnTo>
                    <a:pt x="64333" y="8851"/>
                  </a:lnTo>
                  <a:close/>
                </a:path>
                <a:path w="83184" h="97790">
                  <a:moveTo>
                    <a:pt x="72691" y="80391"/>
                  </a:moveTo>
                  <a:lnTo>
                    <a:pt x="62331" y="80391"/>
                  </a:lnTo>
                  <a:lnTo>
                    <a:pt x="62407" y="84023"/>
                  </a:lnTo>
                  <a:lnTo>
                    <a:pt x="62533" y="85623"/>
                  </a:lnTo>
                  <a:lnTo>
                    <a:pt x="63055" y="89738"/>
                  </a:lnTo>
                  <a:lnTo>
                    <a:pt x="63550" y="92481"/>
                  </a:lnTo>
                  <a:lnTo>
                    <a:pt x="64236" y="95669"/>
                  </a:lnTo>
                  <a:lnTo>
                    <a:pt x="82715" y="95669"/>
                  </a:lnTo>
                  <a:lnTo>
                    <a:pt x="82715" y="88023"/>
                  </a:lnTo>
                  <a:lnTo>
                    <a:pt x="73342" y="87426"/>
                  </a:lnTo>
                  <a:lnTo>
                    <a:pt x="73063" y="85750"/>
                  </a:lnTo>
                  <a:lnTo>
                    <a:pt x="72872" y="84023"/>
                  </a:lnTo>
                  <a:lnTo>
                    <a:pt x="72691" y="80391"/>
                  </a:lnTo>
                  <a:close/>
                </a:path>
                <a:path w="83184" h="97790">
                  <a:moveTo>
                    <a:pt x="72643" y="50787"/>
                  </a:moveTo>
                  <a:lnTo>
                    <a:pt x="62331" y="50787"/>
                  </a:lnTo>
                  <a:lnTo>
                    <a:pt x="62331" y="69621"/>
                  </a:lnTo>
                  <a:lnTo>
                    <a:pt x="59778" y="75120"/>
                  </a:lnTo>
                  <a:lnTo>
                    <a:pt x="55638" y="79603"/>
                  </a:lnTo>
                  <a:lnTo>
                    <a:pt x="44170" y="86550"/>
                  </a:lnTo>
                  <a:lnTo>
                    <a:pt x="37553" y="88290"/>
                  </a:lnTo>
                  <a:lnTo>
                    <a:pt x="55476" y="88290"/>
                  </a:lnTo>
                  <a:lnTo>
                    <a:pt x="58864" y="85318"/>
                  </a:lnTo>
                  <a:lnTo>
                    <a:pt x="62331" y="80391"/>
                  </a:lnTo>
                  <a:lnTo>
                    <a:pt x="72691" y="80391"/>
                  </a:lnTo>
                  <a:lnTo>
                    <a:pt x="72643" y="50787"/>
                  </a:lnTo>
                  <a:close/>
                </a:path>
                <a:path w="83184" h="97790">
                  <a:moveTo>
                    <a:pt x="38201" y="0"/>
                  </a:moveTo>
                  <a:lnTo>
                    <a:pt x="31356" y="0"/>
                  </a:lnTo>
                  <a:lnTo>
                    <a:pt x="24930" y="1041"/>
                  </a:lnTo>
                  <a:lnTo>
                    <a:pt x="12826" y="5207"/>
                  </a:lnTo>
                  <a:lnTo>
                    <a:pt x="7632" y="7924"/>
                  </a:lnTo>
                  <a:lnTo>
                    <a:pt x="3301" y="11290"/>
                  </a:lnTo>
                  <a:lnTo>
                    <a:pt x="3200" y="29337"/>
                  </a:lnTo>
                  <a:lnTo>
                    <a:pt x="11798" y="29337"/>
                  </a:lnTo>
                  <a:lnTo>
                    <a:pt x="12674" y="16751"/>
                  </a:lnTo>
                  <a:lnTo>
                    <a:pt x="15557" y="14325"/>
                  </a:lnTo>
                  <a:lnTo>
                    <a:pt x="19176" y="12395"/>
                  </a:lnTo>
                  <a:lnTo>
                    <a:pt x="27774" y="9563"/>
                  </a:lnTo>
                  <a:lnTo>
                    <a:pt x="32537" y="8851"/>
                  </a:lnTo>
                  <a:lnTo>
                    <a:pt x="64333" y="8851"/>
                  </a:lnTo>
                  <a:lnTo>
                    <a:pt x="63195" y="7899"/>
                  </a:lnTo>
                  <a:lnTo>
                    <a:pt x="58082" y="4441"/>
                  </a:lnTo>
                  <a:lnTo>
                    <a:pt x="52212" y="1973"/>
                  </a:lnTo>
                  <a:lnTo>
                    <a:pt x="45585" y="493"/>
                  </a:lnTo>
                  <a:lnTo>
                    <a:pt x="38201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2" name="object 149">
              <a:extLst>
                <a:ext uri="{FF2B5EF4-FFF2-40B4-BE49-F238E27FC236}">
                  <a16:creationId xmlns:a16="http://schemas.microsoft.com/office/drawing/2014/main" id="{42BAC9EC-E9A0-474E-912F-F584E772E436}"/>
                </a:ext>
              </a:extLst>
            </p:cNvPr>
            <p:cNvSpPr/>
            <p:nvPr/>
          </p:nvSpPr>
          <p:spPr>
            <a:xfrm>
              <a:off x="1017389" y="67314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4" h="7620">
                  <a:moveTo>
                    <a:pt x="0" y="7619"/>
                  </a:moveTo>
                  <a:lnTo>
                    <a:pt x="38646" y="7619"/>
                  </a:lnTo>
                  <a:lnTo>
                    <a:pt x="38646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150">
              <a:extLst>
                <a:ext uri="{FF2B5EF4-FFF2-40B4-BE49-F238E27FC236}">
                  <a16:creationId xmlns:a16="http://schemas.microsoft.com/office/drawing/2014/main" id="{F0550AE5-E643-4366-9FA9-5EC11C1EDAA8}"/>
                </a:ext>
              </a:extLst>
            </p:cNvPr>
            <p:cNvSpPr/>
            <p:nvPr/>
          </p:nvSpPr>
          <p:spPr>
            <a:xfrm>
              <a:off x="1018025" y="67302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5" h="1270">
                  <a:moveTo>
                    <a:pt x="0" y="1270"/>
                  </a:moveTo>
                  <a:lnTo>
                    <a:pt x="37373" y="1270"/>
                  </a:lnTo>
                  <a:lnTo>
                    <a:pt x="37373" y="0"/>
                  </a:lnTo>
                  <a:lnTo>
                    <a:pt x="0" y="0"/>
                  </a:lnTo>
                  <a:lnTo>
                    <a:pt x="0" y="127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151">
              <a:extLst>
                <a:ext uri="{FF2B5EF4-FFF2-40B4-BE49-F238E27FC236}">
                  <a16:creationId xmlns:a16="http://schemas.microsoft.com/office/drawing/2014/main" id="{308C6692-64DF-40B2-83D2-1902A6604B8B}"/>
                </a:ext>
              </a:extLst>
            </p:cNvPr>
            <p:cNvSpPr/>
            <p:nvPr/>
          </p:nvSpPr>
          <p:spPr>
            <a:xfrm>
              <a:off x="1036712" y="6612090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09">
                  <a:moveTo>
                    <a:pt x="0" y="0"/>
                  </a:moveTo>
                  <a:lnTo>
                    <a:pt x="0" y="118110"/>
                  </a:lnTo>
                </a:path>
              </a:pathLst>
            </a:custGeom>
            <a:ln w="10325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152">
              <a:extLst>
                <a:ext uri="{FF2B5EF4-FFF2-40B4-BE49-F238E27FC236}">
                  <a16:creationId xmlns:a16="http://schemas.microsoft.com/office/drawing/2014/main" id="{FD4713E7-BB5E-4B13-8BC2-F50467D0570D}"/>
                </a:ext>
              </a:extLst>
            </p:cNvPr>
            <p:cNvSpPr/>
            <p:nvPr/>
          </p:nvSpPr>
          <p:spPr>
            <a:xfrm>
              <a:off x="1025344" y="66108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4" h="1270">
                  <a:moveTo>
                    <a:pt x="0" y="1269"/>
                  </a:moveTo>
                  <a:lnTo>
                    <a:pt x="16530" y="1269"/>
                  </a:lnTo>
                  <a:lnTo>
                    <a:pt x="16530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153">
              <a:extLst>
                <a:ext uri="{FF2B5EF4-FFF2-40B4-BE49-F238E27FC236}">
                  <a16:creationId xmlns:a16="http://schemas.microsoft.com/office/drawing/2014/main" id="{E1CCACC2-70E0-4B5D-BE1D-9CC028762272}"/>
                </a:ext>
              </a:extLst>
            </p:cNvPr>
            <p:cNvSpPr/>
            <p:nvPr/>
          </p:nvSpPr>
          <p:spPr>
            <a:xfrm>
              <a:off x="1017389" y="66032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5" h="7620">
                  <a:moveTo>
                    <a:pt x="0" y="7620"/>
                  </a:moveTo>
                  <a:lnTo>
                    <a:pt x="24485" y="7620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154">
              <a:extLst>
                <a:ext uri="{FF2B5EF4-FFF2-40B4-BE49-F238E27FC236}">
                  <a16:creationId xmlns:a16="http://schemas.microsoft.com/office/drawing/2014/main" id="{8EF3B675-B79D-4B82-B522-B85F856B20ED}"/>
                </a:ext>
              </a:extLst>
            </p:cNvPr>
            <p:cNvSpPr/>
            <p:nvPr/>
          </p:nvSpPr>
          <p:spPr>
            <a:xfrm>
              <a:off x="1071740" y="6603098"/>
              <a:ext cx="38735" cy="135890"/>
            </a:xfrm>
            <a:custGeom>
              <a:avLst/>
              <a:gdLst/>
              <a:ahLst/>
              <a:cxnLst/>
              <a:rect l="l" t="t" r="r" b="b"/>
              <a:pathLst>
                <a:path w="38734" h="135890">
                  <a:moveTo>
                    <a:pt x="24472" y="0"/>
                  </a:moveTo>
                  <a:lnTo>
                    <a:pt x="14160" y="0"/>
                  </a:lnTo>
                  <a:lnTo>
                    <a:pt x="14160" y="14579"/>
                  </a:lnTo>
                  <a:lnTo>
                    <a:pt x="24472" y="14579"/>
                  </a:lnTo>
                  <a:lnTo>
                    <a:pt x="24472" y="0"/>
                  </a:lnTo>
                  <a:close/>
                </a:path>
                <a:path w="38734" h="135890">
                  <a:moveTo>
                    <a:pt x="24472" y="41490"/>
                  </a:moveTo>
                  <a:lnTo>
                    <a:pt x="0" y="41490"/>
                  </a:lnTo>
                  <a:lnTo>
                    <a:pt x="0" y="49225"/>
                  </a:lnTo>
                  <a:lnTo>
                    <a:pt x="14160" y="50355"/>
                  </a:lnTo>
                  <a:lnTo>
                    <a:pt x="14160" y="126657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46" y="135432"/>
                  </a:lnTo>
                  <a:lnTo>
                    <a:pt x="38646" y="127787"/>
                  </a:lnTo>
                  <a:lnTo>
                    <a:pt x="24472" y="126657"/>
                  </a:lnTo>
                  <a:lnTo>
                    <a:pt x="24472" y="4149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155">
              <a:extLst>
                <a:ext uri="{FF2B5EF4-FFF2-40B4-BE49-F238E27FC236}">
                  <a16:creationId xmlns:a16="http://schemas.microsoft.com/office/drawing/2014/main" id="{3CC10778-170D-4B3C-9167-7108B03C838E}"/>
                </a:ext>
              </a:extLst>
            </p:cNvPr>
            <p:cNvSpPr/>
            <p:nvPr/>
          </p:nvSpPr>
          <p:spPr>
            <a:xfrm>
              <a:off x="1125035" y="6620547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4" h="120015">
                  <a:moveTo>
                    <a:pt x="26669" y="32550"/>
                  </a:moveTo>
                  <a:lnTo>
                    <a:pt x="16154" y="32550"/>
                  </a:lnTo>
                  <a:lnTo>
                    <a:pt x="16154" y="102793"/>
                  </a:lnTo>
                  <a:lnTo>
                    <a:pt x="17994" y="109397"/>
                  </a:lnTo>
                  <a:lnTo>
                    <a:pt x="25349" y="117729"/>
                  </a:lnTo>
                  <a:lnTo>
                    <a:pt x="30492" y="119811"/>
                  </a:lnTo>
                  <a:lnTo>
                    <a:pt x="39573" y="119811"/>
                  </a:lnTo>
                  <a:lnTo>
                    <a:pt x="42062" y="119608"/>
                  </a:lnTo>
                  <a:lnTo>
                    <a:pt x="47040" y="118795"/>
                  </a:lnTo>
                  <a:lnTo>
                    <a:pt x="49148" y="118224"/>
                  </a:lnTo>
                  <a:lnTo>
                    <a:pt x="50876" y="117462"/>
                  </a:lnTo>
                  <a:lnTo>
                    <a:pt x="49506" y="110693"/>
                  </a:lnTo>
                  <a:lnTo>
                    <a:pt x="35204" y="110693"/>
                  </a:lnTo>
                  <a:lnTo>
                    <a:pt x="32208" y="109385"/>
                  </a:lnTo>
                  <a:lnTo>
                    <a:pt x="27787" y="104254"/>
                  </a:lnTo>
                  <a:lnTo>
                    <a:pt x="26669" y="99898"/>
                  </a:lnTo>
                  <a:lnTo>
                    <a:pt x="26669" y="32550"/>
                  </a:lnTo>
                  <a:close/>
                </a:path>
                <a:path w="51434" h="120015">
                  <a:moveTo>
                    <a:pt x="49314" y="109740"/>
                  </a:moveTo>
                  <a:lnTo>
                    <a:pt x="47231" y="110083"/>
                  </a:lnTo>
                  <a:lnTo>
                    <a:pt x="45402" y="110337"/>
                  </a:lnTo>
                  <a:lnTo>
                    <a:pt x="42227" y="110617"/>
                  </a:lnTo>
                  <a:lnTo>
                    <a:pt x="40589" y="110693"/>
                  </a:lnTo>
                  <a:lnTo>
                    <a:pt x="49506" y="110693"/>
                  </a:lnTo>
                  <a:lnTo>
                    <a:pt x="49314" y="109740"/>
                  </a:lnTo>
                  <a:close/>
                </a:path>
                <a:path w="51434" h="120015">
                  <a:moveTo>
                    <a:pt x="47332" y="24053"/>
                  </a:moveTo>
                  <a:lnTo>
                    <a:pt x="0" y="24053"/>
                  </a:lnTo>
                  <a:lnTo>
                    <a:pt x="0" y="32550"/>
                  </a:lnTo>
                  <a:lnTo>
                    <a:pt x="47332" y="32550"/>
                  </a:lnTo>
                  <a:lnTo>
                    <a:pt x="47332" y="24053"/>
                  </a:lnTo>
                  <a:close/>
                </a:path>
                <a:path w="51434" h="120015">
                  <a:moveTo>
                    <a:pt x="26669" y="0"/>
                  </a:moveTo>
                  <a:lnTo>
                    <a:pt x="16154" y="0"/>
                  </a:lnTo>
                  <a:lnTo>
                    <a:pt x="16154" y="24053"/>
                  </a:lnTo>
                  <a:lnTo>
                    <a:pt x="26669" y="24053"/>
                  </a:lnTo>
                  <a:lnTo>
                    <a:pt x="26669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9" name="object 156">
              <a:extLst>
                <a:ext uri="{FF2B5EF4-FFF2-40B4-BE49-F238E27FC236}">
                  <a16:creationId xmlns:a16="http://schemas.microsoft.com/office/drawing/2014/main" id="{9ECCFF57-9DE5-46BE-A899-75A3CFE7105C}"/>
                </a:ext>
              </a:extLst>
            </p:cNvPr>
            <p:cNvSpPr/>
            <p:nvPr/>
          </p:nvSpPr>
          <p:spPr>
            <a:xfrm>
              <a:off x="1187030" y="6644602"/>
              <a:ext cx="94615" cy="132080"/>
            </a:xfrm>
            <a:custGeom>
              <a:avLst/>
              <a:gdLst/>
              <a:ahLst/>
              <a:cxnLst/>
              <a:rect l="l" t="t" r="r" b="b"/>
              <a:pathLst>
                <a:path w="94615" h="132079">
                  <a:moveTo>
                    <a:pt x="13538" y="121970"/>
                  </a:moveTo>
                  <a:lnTo>
                    <a:pt x="12318" y="130657"/>
                  </a:lnTo>
                  <a:lnTo>
                    <a:pt x="13144" y="130937"/>
                  </a:lnTo>
                  <a:lnTo>
                    <a:pt x="14401" y="131229"/>
                  </a:lnTo>
                  <a:lnTo>
                    <a:pt x="16141" y="131470"/>
                  </a:lnTo>
                  <a:lnTo>
                    <a:pt x="17881" y="131749"/>
                  </a:lnTo>
                  <a:lnTo>
                    <a:pt x="19367" y="131864"/>
                  </a:lnTo>
                  <a:lnTo>
                    <a:pt x="28054" y="131864"/>
                  </a:lnTo>
                  <a:lnTo>
                    <a:pt x="33718" y="129641"/>
                  </a:lnTo>
                  <a:lnTo>
                    <a:pt x="39854" y="122580"/>
                  </a:lnTo>
                  <a:lnTo>
                    <a:pt x="19507" y="122580"/>
                  </a:lnTo>
                  <a:lnTo>
                    <a:pt x="18427" y="122504"/>
                  </a:lnTo>
                  <a:lnTo>
                    <a:pt x="15354" y="122224"/>
                  </a:lnTo>
                  <a:lnTo>
                    <a:pt x="14236" y="122085"/>
                  </a:lnTo>
                  <a:lnTo>
                    <a:pt x="13538" y="121970"/>
                  </a:lnTo>
                  <a:close/>
                </a:path>
                <a:path w="94615" h="132079">
                  <a:moveTo>
                    <a:pt x="32296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9550" y="8509"/>
                  </a:lnTo>
                  <a:lnTo>
                    <a:pt x="42887" y="92798"/>
                  </a:lnTo>
                  <a:lnTo>
                    <a:pt x="24714" y="122580"/>
                  </a:lnTo>
                  <a:lnTo>
                    <a:pt x="39854" y="122580"/>
                  </a:lnTo>
                  <a:lnTo>
                    <a:pt x="41465" y="120726"/>
                  </a:lnTo>
                  <a:lnTo>
                    <a:pt x="44615" y="115316"/>
                  </a:lnTo>
                  <a:lnTo>
                    <a:pt x="47053" y="108953"/>
                  </a:lnTo>
                  <a:lnTo>
                    <a:pt x="58074" y="79781"/>
                  </a:lnTo>
                  <a:lnTo>
                    <a:pt x="47320" y="79781"/>
                  </a:lnTo>
                  <a:lnTo>
                    <a:pt x="44018" y="68491"/>
                  </a:lnTo>
                  <a:lnTo>
                    <a:pt x="21107" y="8585"/>
                  </a:lnTo>
                  <a:lnTo>
                    <a:pt x="32296" y="7721"/>
                  </a:lnTo>
                  <a:lnTo>
                    <a:pt x="32296" y="0"/>
                  </a:lnTo>
                  <a:close/>
                </a:path>
                <a:path w="94615" h="132079">
                  <a:moveTo>
                    <a:pt x="94551" y="0"/>
                  </a:moveTo>
                  <a:lnTo>
                    <a:pt x="62077" y="0"/>
                  </a:lnTo>
                  <a:lnTo>
                    <a:pt x="62077" y="7721"/>
                  </a:lnTo>
                  <a:lnTo>
                    <a:pt x="73545" y="8585"/>
                  </a:lnTo>
                  <a:lnTo>
                    <a:pt x="47840" y="79781"/>
                  </a:lnTo>
                  <a:lnTo>
                    <a:pt x="58074" y="79781"/>
                  </a:lnTo>
                  <a:lnTo>
                    <a:pt x="85001" y="8509"/>
                  </a:lnTo>
                  <a:lnTo>
                    <a:pt x="94551" y="7721"/>
                  </a:lnTo>
                  <a:lnTo>
                    <a:pt x="94551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0" name="object 157">
              <a:extLst>
                <a:ext uri="{FF2B5EF4-FFF2-40B4-BE49-F238E27FC236}">
                  <a16:creationId xmlns:a16="http://schemas.microsoft.com/office/drawing/2014/main" id="{3BDB93C9-EEEB-469A-9F19-24C5EEC09A37}"/>
                </a:ext>
              </a:extLst>
            </p:cNvPr>
            <p:cNvSpPr/>
            <p:nvPr/>
          </p:nvSpPr>
          <p:spPr>
            <a:xfrm>
              <a:off x="1288262" y="6724294"/>
              <a:ext cx="12065" cy="14604"/>
            </a:xfrm>
            <a:custGeom>
              <a:avLst/>
              <a:gdLst/>
              <a:ahLst/>
              <a:cxnLst/>
              <a:rect l="l" t="t" r="r" b="b"/>
              <a:pathLst>
                <a:path w="12065" h="14604">
                  <a:moveTo>
                    <a:pt x="11899" y="14236"/>
                  </a:moveTo>
                  <a:lnTo>
                    <a:pt x="0" y="14236"/>
                  </a:lnTo>
                  <a:lnTo>
                    <a:pt x="0" y="0"/>
                  </a:lnTo>
                  <a:lnTo>
                    <a:pt x="11899" y="0"/>
                  </a:lnTo>
                  <a:lnTo>
                    <a:pt x="11899" y="14236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158">
              <a:extLst>
                <a:ext uri="{FF2B5EF4-FFF2-40B4-BE49-F238E27FC236}">
                  <a16:creationId xmlns:a16="http://schemas.microsoft.com/office/drawing/2014/main" id="{8417DF33-C439-4C7B-9576-CF7522FD916A}"/>
                </a:ext>
              </a:extLst>
            </p:cNvPr>
            <p:cNvSpPr/>
            <p:nvPr/>
          </p:nvSpPr>
          <p:spPr>
            <a:xfrm>
              <a:off x="1364576" y="6603098"/>
              <a:ext cx="1619478" cy="173367"/>
            </a:xfrm>
            <a:prstGeom prst="rect">
              <a:avLst/>
            </a:prstGeom>
            <a:blipFill>
              <a:blip r:embed="rId2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2" name="object 159">
              <a:extLst>
                <a:ext uri="{FF2B5EF4-FFF2-40B4-BE49-F238E27FC236}">
                  <a16:creationId xmlns:a16="http://schemas.microsoft.com/office/drawing/2014/main" id="{525E8832-8838-4253-8717-B72CE2F59630}"/>
                </a:ext>
              </a:extLst>
            </p:cNvPr>
            <p:cNvSpPr/>
            <p:nvPr/>
          </p:nvSpPr>
          <p:spPr>
            <a:xfrm>
              <a:off x="3050908" y="6603098"/>
              <a:ext cx="441883" cy="137261"/>
            </a:xfrm>
            <a:prstGeom prst="rect">
              <a:avLst/>
            </a:prstGeom>
            <a:blipFill>
              <a:blip r:embed="rId2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3" name="object 160">
              <a:extLst>
                <a:ext uri="{FF2B5EF4-FFF2-40B4-BE49-F238E27FC236}">
                  <a16:creationId xmlns:a16="http://schemas.microsoft.com/office/drawing/2014/main" id="{E02E2BDF-D6E7-46D5-9686-15E8FB705421}"/>
                </a:ext>
              </a:extLst>
            </p:cNvPr>
            <p:cNvSpPr/>
            <p:nvPr/>
          </p:nvSpPr>
          <p:spPr>
            <a:xfrm>
              <a:off x="3551389" y="6603098"/>
              <a:ext cx="409257" cy="137261"/>
            </a:xfrm>
            <a:prstGeom prst="rect">
              <a:avLst/>
            </a:prstGeom>
            <a:blipFill>
              <a:blip r:embed="rId3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4" name="object 161">
              <a:extLst>
                <a:ext uri="{FF2B5EF4-FFF2-40B4-BE49-F238E27FC236}">
                  <a16:creationId xmlns:a16="http://schemas.microsoft.com/office/drawing/2014/main" id="{63979305-7A0A-4DBC-857C-BBDEEF596452}"/>
                </a:ext>
              </a:extLst>
            </p:cNvPr>
            <p:cNvSpPr/>
            <p:nvPr/>
          </p:nvSpPr>
          <p:spPr>
            <a:xfrm>
              <a:off x="1186433" y="6869798"/>
              <a:ext cx="2475560" cy="137261"/>
            </a:xfrm>
            <a:prstGeom prst="rect">
              <a:avLst/>
            </a:prstGeom>
            <a:blipFill>
              <a:blip r:embed="rId3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5" name="object 162">
              <a:extLst>
                <a:ext uri="{FF2B5EF4-FFF2-40B4-BE49-F238E27FC236}">
                  <a16:creationId xmlns:a16="http://schemas.microsoft.com/office/drawing/2014/main" id="{BC750992-34B5-4057-9CDD-6935B308528F}"/>
                </a:ext>
              </a:extLst>
            </p:cNvPr>
            <p:cNvSpPr/>
            <p:nvPr/>
          </p:nvSpPr>
          <p:spPr>
            <a:xfrm>
              <a:off x="3718763" y="6869798"/>
              <a:ext cx="240322" cy="137261"/>
            </a:xfrm>
            <a:prstGeom prst="rect">
              <a:avLst/>
            </a:prstGeom>
            <a:blipFill>
              <a:blip r:embed="rId3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6" name="object 163">
              <a:extLst>
                <a:ext uri="{FF2B5EF4-FFF2-40B4-BE49-F238E27FC236}">
                  <a16:creationId xmlns:a16="http://schemas.microsoft.com/office/drawing/2014/main" id="{0882B8B0-56B0-47C8-A008-1100644F7E84}"/>
                </a:ext>
              </a:extLst>
            </p:cNvPr>
            <p:cNvSpPr/>
            <p:nvPr/>
          </p:nvSpPr>
          <p:spPr>
            <a:xfrm>
              <a:off x="499016" y="7153947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4" h="120015">
                  <a:moveTo>
                    <a:pt x="26644" y="32550"/>
                  </a:moveTo>
                  <a:lnTo>
                    <a:pt x="16154" y="32550"/>
                  </a:lnTo>
                  <a:lnTo>
                    <a:pt x="16154" y="102793"/>
                  </a:lnTo>
                  <a:lnTo>
                    <a:pt x="17994" y="109397"/>
                  </a:lnTo>
                  <a:lnTo>
                    <a:pt x="25323" y="117729"/>
                  </a:lnTo>
                  <a:lnTo>
                    <a:pt x="30467" y="119811"/>
                  </a:lnTo>
                  <a:lnTo>
                    <a:pt x="39560" y="119811"/>
                  </a:lnTo>
                  <a:lnTo>
                    <a:pt x="42049" y="119608"/>
                  </a:lnTo>
                  <a:lnTo>
                    <a:pt x="47015" y="118795"/>
                  </a:lnTo>
                  <a:lnTo>
                    <a:pt x="49136" y="118224"/>
                  </a:lnTo>
                  <a:lnTo>
                    <a:pt x="50876" y="117462"/>
                  </a:lnTo>
                  <a:lnTo>
                    <a:pt x="49506" y="110693"/>
                  </a:lnTo>
                  <a:lnTo>
                    <a:pt x="35191" y="110693"/>
                  </a:lnTo>
                  <a:lnTo>
                    <a:pt x="32208" y="109385"/>
                  </a:lnTo>
                  <a:lnTo>
                    <a:pt x="27762" y="104254"/>
                  </a:lnTo>
                  <a:lnTo>
                    <a:pt x="26644" y="99898"/>
                  </a:lnTo>
                  <a:lnTo>
                    <a:pt x="26644" y="32550"/>
                  </a:lnTo>
                  <a:close/>
                </a:path>
                <a:path w="51434" h="120015">
                  <a:moveTo>
                    <a:pt x="49314" y="109740"/>
                  </a:moveTo>
                  <a:lnTo>
                    <a:pt x="47231" y="110083"/>
                  </a:lnTo>
                  <a:lnTo>
                    <a:pt x="45402" y="110337"/>
                  </a:lnTo>
                  <a:lnTo>
                    <a:pt x="42202" y="110617"/>
                  </a:lnTo>
                  <a:lnTo>
                    <a:pt x="40576" y="110693"/>
                  </a:lnTo>
                  <a:lnTo>
                    <a:pt x="49506" y="110693"/>
                  </a:lnTo>
                  <a:lnTo>
                    <a:pt x="49314" y="109740"/>
                  </a:lnTo>
                  <a:close/>
                </a:path>
                <a:path w="51434" h="120015">
                  <a:moveTo>
                    <a:pt x="47307" y="24053"/>
                  </a:moveTo>
                  <a:lnTo>
                    <a:pt x="0" y="24053"/>
                  </a:lnTo>
                  <a:lnTo>
                    <a:pt x="0" y="32550"/>
                  </a:lnTo>
                  <a:lnTo>
                    <a:pt x="47307" y="32550"/>
                  </a:lnTo>
                  <a:lnTo>
                    <a:pt x="47307" y="24053"/>
                  </a:lnTo>
                  <a:close/>
                </a:path>
                <a:path w="51434" h="120015">
                  <a:moveTo>
                    <a:pt x="26644" y="0"/>
                  </a:moveTo>
                  <a:lnTo>
                    <a:pt x="16154" y="0"/>
                  </a:lnTo>
                  <a:lnTo>
                    <a:pt x="16154" y="24053"/>
                  </a:lnTo>
                  <a:lnTo>
                    <a:pt x="26644" y="24053"/>
                  </a:lnTo>
                  <a:lnTo>
                    <a:pt x="26644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7" name="object 164">
              <a:extLst>
                <a:ext uri="{FF2B5EF4-FFF2-40B4-BE49-F238E27FC236}">
                  <a16:creationId xmlns:a16="http://schemas.microsoft.com/office/drawing/2014/main" id="{E5D57384-7A26-4B43-9E4A-49353154D8D1}"/>
                </a:ext>
              </a:extLst>
            </p:cNvPr>
            <p:cNvSpPr/>
            <p:nvPr/>
          </p:nvSpPr>
          <p:spPr>
            <a:xfrm>
              <a:off x="562396" y="7136498"/>
              <a:ext cx="100330" cy="135890"/>
            </a:xfrm>
            <a:custGeom>
              <a:avLst/>
              <a:gdLst/>
              <a:ahLst/>
              <a:cxnLst/>
              <a:rect l="l" t="t" r="r" b="b"/>
              <a:pathLst>
                <a:path w="100329" h="135890">
                  <a:moveTo>
                    <a:pt x="24485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4135" y="8851"/>
                  </a:lnTo>
                  <a:lnTo>
                    <a:pt x="14135" y="126657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20" y="135432"/>
                  </a:lnTo>
                  <a:lnTo>
                    <a:pt x="38620" y="127787"/>
                  </a:lnTo>
                  <a:lnTo>
                    <a:pt x="24485" y="126657"/>
                  </a:lnTo>
                  <a:lnTo>
                    <a:pt x="24485" y="69278"/>
                  </a:lnTo>
                  <a:lnTo>
                    <a:pt x="26733" y="63080"/>
                  </a:lnTo>
                  <a:lnTo>
                    <a:pt x="30251" y="58127"/>
                  </a:lnTo>
                  <a:lnTo>
                    <a:pt x="30982" y="57556"/>
                  </a:lnTo>
                  <a:lnTo>
                    <a:pt x="24485" y="57556"/>
                  </a:lnTo>
                  <a:lnTo>
                    <a:pt x="24485" y="0"/>
                  </a:lnTo>
                  <a:close/>
                </a:path>
                <a:path w="100329" h="135890">
                  <a:moveTo>
                    <a:pt x="77849" y="48780"/>
                  </a:moveTo>
                  <a:lnTo>
                    <a:pt x="59931" y="48780"/>
                  </a:lnTo>
                  <a:lnTo>
                    <a:pt x="65455" y="51003"/>
                  </a:lnTo>
                  <a:lnTo>
                    <a:pt x="73520" y="59855"/>
                  </a:lnTo>
                  <a:lnTo>
                    <a:pt x="75526" y="67170"/>
                  </a:lnTo>
                  <a:lnTo>
                    <a:pt x="75526" y="126657"/>
                  </a:lnTo>
                  <a:lnTo>
                    <a:pt x="61366" y="127787"/>
                  </a:lnTo>
                  <a:lnTo>
                    <a:pt x="61366" y="135432"/>
                  </a:lnTo>
                  <a:lnTo>
                    <a:pt x="100088" y="135432"/>
                  </a:lnTo>
                  <a:lnTo>
                    <a:pt x="100088" y="127787"/>
                  </a:lnTo>
                  <a:lnTo>
                    <a:pt x="85953" y="126657"/>
                  </a:lnTo>
                  <a:lnTo>
                    <a:pt x="85953" y="77520"/>
                  </a:lnTo>
                  <a:lnTo>
                    <a:pt x="85456" y="68471"/>
                  </a:lnTo>
                  <a:lnTo>
                    <a:pt x="83964" y="60696"/>
                  </a:lnTo>
                  <a:lnTo>
                    <a:pt x="81479" y="54192"/>
                  </a:lnTo>
                  <a:lnTo>
                    <a:pt x="78003" y="48958"/>
                  </a:lnTo>
                  <a:lnTo>
                    <a:pt x="77849" y="48780"/>
                  </a:lnTo>
                  <a:close/>
                </a:path>
                <a:path w="100329" h="135890">
                  <a:moveTo>
                    <a:pt x="65112" y="39751"/>
                  </a:moveTo>
                  <a:lnTo>
                    <a:pt x="48272" y="39751"/>
                  </a:lnTo>
                  <a:lnTo>
                    <a:pt x="42189" y="41325"/>
                  </a:lnTo>
                  <a:lnTo>
                    <a:pt x="31775" y="47574"/>
                  </a:lnTo>
                  <a:lnTo>
                    <a:pt x="27609" y="51930"/>
                  </a:lnTo>
                  <a:lnTo>
                    <a:pt x="24485" y="57556"/>
                  </a:lnTo>
                  <a:lnTo>
                    <a:pt x="30982" y="57556"/>
                  </a:lnTo>
                  <a:lnTo>
                    <a:pt x="39801" y="50660"/>
                  </a:lnTo>
                  <a:lnTo>
                    <a:pt x="45745" y="48780"/>
                  </a:lnTo>
                  <a:lnTo>
                    <a:pt x="77849" y="48780"/>
                  </a:lnTo>
                  <a:lnTo>
                    <a:pt x="72707" y="42824"/>
                  </a:lnTo>
                  <a:lnTo>
                    <a:pt x="65112" y="397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8" name="object 165">
              <a:extLst>
                <a:ext uri="{FF2B5EF4-FFF2-40B4-BE49-F238E27FC236}">
                  <a16:creationId xmlns:a16="http://schemas.microsoft.com/office/drawing/2014/main" id="{FC753240-6CB1-417A-8051-130731341DCA}"/>
                </a:ext>
              </a:extLst>
            </p:cNvPr>
            <p:cNvSpPr/>
            <p:nvPr/>
          </p:nvSpPr>
          <p:spPr>
            <a:xfrm>
              <a:off x="677691" y="7176261"/>
              <a:ext cx="76835" cy="97790"/>
            </a:xfrm>
            <a:custGeom>
              <a:avLst/>
              <a:gdLst/>
              <a:ahLst/>
              <a:cxnLst/>
              <a:rect l="l" t="t" r="r" b="b"/>
              <a:pathLst>
                <a:path w="76834" h="97790">
                  <a:moveTo>
                    <a:pt x="39585" y="0"/>
                  </a:moveTo>
                  <a:lnTo>
                    <a:pt x="6515" y="20351"/>
                  </a:lnTo>
                  <a:lnTo>
                    <a:pt x="0" y="46697"/>
                  </a:lnTo>
                  <a:lnTo>
                    <a:pt x="0" y="51473"/>
                  </a:lnTo>
                  <a:lnTo>
                    <a:pt x="17826" y="90193"/>
                  </a:lnTo>
                  <a:lnTo>
                    <a:pt x="40970" y="97485"/>
                  </a:lnTo>
                  <a:lnTo>
                    <a:pt x="48437" y="97485"/>
                  </a:lnTo>
                  <a:lnTo>
                    <a:pt x="54863" y="96405"/>
                  </a:lnTo>
                  <a:lnTo>
                    <a:pt x="65633" y="92062"/>
                  </a:lnTo>
                  <a:lnTo>
                    <a:pt x="70078" y="89128"/>
                  </a:lnTo>
                  <a:lnTo>
                    <a:pt x="70466" y="88722"/>
                  </a:lnTo>
                  <a:lnTo>
                    <a:pt x="31826" y="88722"/>
                  </a:lnTo>
                  <a:lnTo>
                    <a:pt x="24434" y="85153"/>
                  </a:lnTo>
                  <a:lnTo>
                    <a:pt x="10312" y="51473"/>
                  </a:lnTo>
                  <a:lnTo>
                    <a:pt x="10312" y="48958"/>
                  </a:lnTo>
                  <a:lnTo>
                    <a:pt x="76644" y="48958"/>
                  </a:lnTo>
                  <a:lnTo>
                    <a:pt x="76644" y="40195"/>
                  </a:lnTo>
                  <a:lnTo>
                    <a:pt x="11277" y="40195"/>
                  </a:lnTo>
                  <a:lnTo>
                    <a:pt x="11112" y="39763"/>
                  </a:lnTo>
                  <a:lnTo>
                    <a:pt x="11976" y="30899"/>
                  </a:lnTo>
                  <a:lnTo>
                    <a:pt x="15024" y="23533"/>
                  </a:lnTo>
                  <a:lnTo>
                    <a:pt x="25501" y="11785"/>
                  </a:lnTo>
                  <a:lnTo>
                    <a:pt x="31940" y="8851"/>
                  </a:lnTo>
                  <a:lnTo>
                    <a:pt x="64394" y="8851"/>
                  </a:lnTo>
                  <a:lnTo>
                    <a:pt x="61338" y="6150"/>
                  </a:lnTo>
                  <a:lnTo>
                    <a:pt x="55006" y="2733"/>
                  </a:lnTo>
                  <a:lnTo>
                    <a:pt x="47755" y="683"/>
                  </a:lnTo>
                  <a:lnTo>
                    <a:pt x="39585" y="0"/>
                  </a:lnTo>
                  <a:close/>
                </a:path>
                <a:path w="76834" h="97790">
                  <a:moveTo>
                    <a:pt x="69176" y="78308"/>
                  </a:moveTo>
                  <a:lnTo>
                    <a:pt x="65938" y="81661"/>
                  </a:lnTo>
                  <a:lnTo>
                    <a:pt x="62039" y="84239"/>
                  </a:lnTo>
                  <a:lnTo>
                    <a:pt x="52895" y="87833"/>
                  </a:lnTo>
                  <a:lnTo>
                    <a:pt x="47396" y="88722"/>
                  </a:lnTo>
                  <a:lnTo>
                    <a:pt x="70466" y="88722"/>
                  </a:lnTo>
                  <a:lnTo>
                    <a:pt x="73621" y="85420"/>
                  </a:lnTo>
                  <a:lnTo>
                    <a:pt x="69176" y="78308"/>
                  </a:lnTo>
                  <a:close/>
                </a:path>
                <a:path w="76834" h="97790">
                  <a:moveTo>
                    <a:pt x="64394" y="8851"/>
                  </a:moveTo>
                  <a:lnTo>
                    <a:pt x="47790" y="8851"/>
                  </a:lnTo>
                  <a:lnTo>
                    <a:pt x="54305" y="11607"/>
                  </a:lnTo>
                  <a:lnTo>
                    <a:pt x="63919" y="22593"/>
                  </a:lnTo>
                  <a:lnTo>
                    <a:pt x="66319" y="29425"/>
                  </a:lnTo>
                  <a:lnTo>
                    <a:pt x="66319" y="40195"/>
                  </a:lnTo>
                  <a:lnTo>
                    <a:pt x="76644" y="40195"/>
                  </a:lnTo>
                  <a:lnTo>
                    <a:pt x="76025" y="31446"/>
                  </a:lnTo>
                  <a:lnTo>
                    <a:pt x="74169" y="23696"/>
                  </a:lnTo>
                  <a:lnTo>
                    <a:pt x="71077" y="16859"/>
                  </a:lnTo>
                  <a:lnTo>
                    <a:pt x="66751" y="10934"/>
                  </a:lnTo>
                  <a:lnTo>
                    <a:pt x="64394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9" name="object 166">
              <a:extLst>
                <a:ext uri="{FF2B5EF4-FFF2-40B4-BE49-F238E27FC236}">
                  <a16:creationId xmlns:a16="http://schemas.microsoft.com/office/drawing/2014/main" id="{F8884B33-5BA0-4023-B2B0-B278E367A1A4}"/>
                </a:ext>
              </a:extLst>
            </p:cNvPr>
            <p:cNvSpPr/>
            <p:nvPr/>
          </p:nvSpPr>
          <p:spPr>
            <a:xfrm>
              <a:off x="770656" y="7176261"/>
              <a:ext cx="160020" cy="95885"/>
            </a:xfrm>
            <a:custGeom>
              <a:avLst/>
              <a:gdLst/>
              <a:ahLst/>
              <a:cxnLst/>
              <a:rect l="l" t="t" r="r" b="b"/>
              <a:pathLst>
                <a:path w="160019" h="95884">
                  <a:moveTo>
                    <a:pt x="23368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60" y="10591"/>
                  </a:lnTo>
                  <a:lnTo>
                    <a:pt x="14160" y="86906"/>
                  </a:lnTo>
                  <a:lnTo>
                    <a:pt x="0" y="88036"/>
                  </a:lnTo>
                  <a:lnTo>
                    <a:pt x="0" y="95669"/>
                  </a:lnTo>
                  <a:lnTo>
                    <a:pt x="38722" y="95669"/>
                  </a:lnTo>
                  <a:lnTo>
                    <a:pt x="38722" y="88036"/>
                  </a:lnTo>
                  <a:lnTo>
                    <a:pt x="24587" y="86906"/>
                  </a:lnTo>
                  <a:lnTo>
                    <a:pt x="24677" y="29362"/>
                  </a:lnTo>
                  <a:lnTo>
                    <a:pt x="26314" y="23380"/>
                  </a:lnTo>
                  <a:lnTo>
                    <a:pt x="29349" y="18364"/>
                  </a:lnTo>
                  <a:lnTo>
                    <a:pt x="30601" y="17272"/>
                  </a:lnTo>
                  <a:lnTo>
                    <a:pt x="24307" y="17272"/>
                  </a:lnTo>
                  <a:lnTo>
                    <a:pt x="23368" y="1739"/>
                  </a:lnTo>
                  <a:close/>
                </a:path>
                <a:path w="160019" h="95884">
                  <a:moveTo>
                    <a:pt x="77307" y="9029"/>
                  </a:moveTo>
                  <a:lnTo>
                    <a:pt x="58470" y="9029"/>
                  </a:lnTo>
                  <a:lnTo>
                    <a:pt x="64147" y="11468"/>
                  </a:lnTo>
                  <a:lnTo>
                    <a:pt x="72431" y="21272"/>
                  </a:lnTo>
                  <a:lnTo>
                    <a:pt x="74430" y="29146"/>
                  </a:lnTo>
                  <a:lnTo>
                    <a:pt x="74485" y="86906"/>
                  </a:lnTo>
                  <a:lnTo>
                    <a:pt x="60350" y="88036"/>
                  </a:lnTo>
                  <a:lnTo>
                    <a:pt x="60350" y="95669"/>
                  </a:lnTo>
                  <a:lnTo>
                    <a:pt x="99072" y="95669"/>
                  </a:lnTo>
                  <a:lnTo>
                    <a:pt x="99072" y="88036"/>
                  </a:lnTo>
                  <a:lnTo>
                    <a:pt x="84912" y="86906"/>
                  </a:lnTo>
                  <a:lnTo>
                    <a:pt x="84836" y="36461"/>
                  </a:lnTo>
                  <a:lnTo>
                    <a:pt x="85877" y="28473"/>
                  </a:lnTo>
                  <a:lnTo>
                    <a:pt x="88582" y="21894"/>
                  </a:lnTo>
                  <a:lnTo>
                    <a:pt x="89110" y="21272"/>
                  </a:lnTo>
                  <a:lnTo>
                    <a:pt x="82651" y="21272"/>
                  </a:lnTo>
                  <a:lnTo>
                    <a:pt x="80568" y="14084"/>
                  </a:lnTo>
                  <a:lnTo>
                    <a:pt x="77307" y="9029"/>
                  </a:lnTo>
                  <a:close/>
                </a:path>
                <a:path w="160019" h="95884">
                  <a:moveTo>
                    <a:pt x="136351" y="9029"/>
                  </a:moveTo>
                  <a:lnTo>
                    <a:pt x="118935" y="9029"/>
                  </a:lnTo>
                  <a:lnTo>
                    <a:pt x="124625" y="11417"/>
                  </a:lnTo>
                  <a:lnTo>
                    <a:pt x="132791" y="20967"/>
                  </a:lnTo>
                  <a:lnTo>
                    <a:pt x="134835" y="29146"/>
                  </a:lnTo>
                  <a:lnTo>
                    <a:pt x="134835" y="86817"/>
                  </a:lnTo>
                  <a:lnTo>
                    <a:pt x="120675" y="88036"/>
                  </a:lnTo>
                  <a:lnTo>
                    <a:pt x="120675" y="95669"/>
                  </a:lnTo>
                  <a:lnTo>
                    <a:pt x="159499" y="95669"/>
                  </a:lnTo>
                  <a:lnTo>
                    <a:pt x="159499" y="88036"/>
                  </a:lnTo>
                  <a:lnTo>
                    <a:pt x="145326" y="86817"/>
                  </a:lnTo>
                  <a:lnTo>
                    <a:pt x="145326" y="40894"/>
                  </a:lnTo>
                  <a:lnTo>
                    <a:pt x="144815" y="31111"/>
                  </a:lnTo>
                  <a:lnTo>
                    <a:pt x="143282" y="22699"/>
                  </a:lnTo>
                  <a:lnTo>
                    <a:pt x="140723" y="15656"/>
                  </a:lnTo>
                  <a:lnTo>
                    <a:pt x="137134" y="9982"/>
                  </a:lnTo>
                  <a:lnTo>
                    <a:pt x="136351" y="9029"/>
                  </a:lnTo>
                  <a:close/>
                </a:path>
                <a:path w="160019" h="95884">
                  <a:moveTo>
                    <a:pt x="123926" y="0"/>
                  </a:moveTo>
                  <a:lnTo>
                    <a:pt x="106387" y="0"/>
                  </a:lnTo>
                  <a:lnTo>
                    <a:pt x="100012" y="1892"/>
                  </a:lnTo>
                  <a:lnTo>
                    <a:pt x="89522" y="9474"/>
                  </a:lnTo>
                  <a:lnTo>
                    <a:pt x="85483" y="14668"/>
                  </a:lnTo>
                  <a:lnTo>
                    <a:pt x="82651" y="21272"/>
                  </a:lnTo>
                  <a:lnTo>
                    <a:pt x="89121" y="21259"/>
                  </a:lnTo>
                  <a:lnTo>
                    <a:pt x="97307" y="11607"/>
                  </a:lnTo>
                  <a:lnTo>
                    <a:pt x="103543" y="9029"/>
                  </a:lnTo>
                  <a:lnTo>
                    <a:pt x="136351" y="9029"/>
                  </a:lnTo>
                  <a:lnTo>
                    <a:pt x="131660" y="3327"/>
                  </a:lnTo>
                  <a:lnTo>
                    <a:pt x="123926" y="0"/>
                  </a:lnTo>
                  <a:close/>
                </a:path>
                <a:path w="160019" h="95884">
                  <a:moveTo>
                    <a:pt x="61531" y="0"/>
                  </a:moveTo>
                  <a:lnTo>
                    <a:pt x="47396" y="0"/>
                  </a:lnTo>
                  <a:lnTo>
                    <a:pt x="41427" y="1498"/>
                  </a:lnTo>
                  <a:lnTo>
                    <a:pt x="31356" y="7531"/>
                  </a:lnTo>
                  <a:lnTo>
                    <a:pt x="27317" y="11785"/>
                  </a:lnTo>
                  <a:lnTo>
                    <a:pt x="24307" y="17272"/>
                  </a:lnTo>
                  <a:lnTo>
                    <a:pt x="30601" y="17272"/>
                  </a:lnTo>
                  <a:lnTo>
                    <a:pt x="37947" y="10896"/>
                  </a:lnTo>
                  <a:lnTo>
                    <a:pt x="43815" y="9029"/>
                  </a:lnTo>
                  <a:lnTo>
                    <a:pt x="77307" y="9029"/>
                  </a:lnTo>
                  <a:lnTo>
                    <a:pt x="77127" y="8750"/>
                  </a:lnTo>
                  <a:lnTo>
                    <a:pt x="67513" y="1752"/>
                  </a:lnTo>
                  <a:lnTo>
                    <a:pt x="61531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0" name="object 167">
              <a:extLst>
                <a:ext uri="{FF2B5EF4-FFF2-40B4-BE49-F238E27FC236}">
                  <a16:creationId xmlns:a16="http://schemas.microsoft.com/office/drawing/2014/main" id="{D7AFF212-97BD-4792-8A2F-7C37BA25C5BE}"/>
                </a:ext>
              </a:extLst>
            </p:cNvPr>
            <p:cNvSpPr/>
            <p:nvPr/>
          </p:nvSpPr>
          <p:spPr>
            <a:xfrm>
              <a:off x="944641" y="7176261"/>
              <a:ext cx="68580" cy="97790"/>
            </a:xfrm>
            <a:custGeom>
              <a:avLst/>
              <a:gdLst/>
              <a:ahLst/>
              <a:cxnLst/>
              <a:rect l="l" t="t" r="r" b="b"/>
              <a:pathLst>
                <a:path w="68580" h="97790">
                  <a:moveTo>
                    <a:pt x="8432" y="67462"/>
                  </a:moveTo>
                  <a:lnTo>
                    <a:pt x="0" y="67462"/>
                  </a:lnTo>
                  <a:lnTo>
                    <a:pt x="0" y="86385"/>
                  </a:lnTo>
                  <a:lnTo>
                    <a:pt x="4165" y="89916"/>
                  </a:lnTo>
                  <a:lnTo>
                    <a:pt x="9093" y="92646"/>
                  </a:lnTo>
                  <a:lnTo>
                    <a:pt x="20510" y="96532"/>
                  </a:lnTo>
                  <a:lnTo>
                    <a:pt x="26835" y="97497"/>
                  </a:lnTo>
                  <a:lnTo>
                    <a:pt x="33782" y="97497"/>
                  </a:lnTo>
                  <a:lnTo>
                    <a:pt x="60915" y="88722"/>
                  </a:lnTo>
                  <a:lnTo>
                    <a:pt x="29146" y="88722"/>
                  </a:lnTo>
                  <a:lnTo>
                    <a:pt x="24701" y="88112"/>
                  </a:lnTo>
                  <a:lnTo>
                    <a:pt x="16192" y="85610"/>
                  </a:lnTo>
                  <a:lnTo>
                    <a:pt x="12674" y="83604"/>
                  </a:lnTo>
                  <a:lnTo>
                    <a:pt x="9893" y="80822"/>
                  </a:lnTo>
                  <a:lnTo>
                    <a:pt x="8432" y="67462"/>
                  </a:lnTo>
                  <a:close/>
                </a:path>
                <a:path w="68580" h="97790">
                  <a:moveTo>
                    <a:pt x="40144" y="0"/>
                  </a:moveTo>
                  <a:lnTo>
                    <a:pt x="23304" y="0"/>
                  </a:lnTo>
                  <a:lnTo>
                    <a:pt x="15278" y="2463"/>
                  </a:lnTo>
                  <a:lnTo>
                    <a:pt x="3124" y="12369"/>
                  </a:lnTo>
                  <a:lnTo>
                    <a:pt x="88" y="18427"/>
                  </a:lnTo>
                  <a:lnTo>
                    <a:pt x="88" y="32842"/>
                  </a:lnTo>
                  <a:lnTo>
                    <a:pt x="33083" y="52171"/>
                  </a:lnTo>
                  <a:lnTo>
                    <a:pt x="42506" y="54267"/>
                  </a:lnTo>
                  <a:lnTo>
                    <a:pt x="49034" y="56946"/>
                  </a:lnTo>
                  <a:lnTo>
                    <a:pt x="56273" y="63550"/>
                  </a:lnTo>
                  <a:lnTo>
                    <a:pt x="58089" y="67398"/>
                  </a:lnTo>
                  <a:lnTo>
                    <a:pt x="58089" y="76492"/>
                  </a:lnTo>
                  <a:lnTo>
                    <a:pt x="55905" y="80479"/>
                  </a:lnTo>
                  <a:lnTo>
                    <a:pt x="47218" y="87083"/>
                  </a:lnTo>
                  <a:lnTo>
                    <a:pt x="41300" y="88722"/>
                  </a:lnTo>
                  <a:lnTo>
                    <a:pt x="60915" y="88722"/>
                  </a:lnTo>
                  <a:lnTo>
                    <a:pt x="65239" y="85420"/>
                  </a:lnTo>
                  <a:lnTo>
                    <a:pt x="68402" y="79095"/>
                  </a:lnTo>
                  <a:lnTo>
                    <a:pt x="68402" y="63868"/>
                  </a:lnTo>
                  <a:lnTo>
                    <a:pt x="35001" y="43497"/>
                  </a:lnTo>
                  <a:lnTo>
                    <a:pt x="25209" y="41351"/>
                  </a:lnTo>
                  <a:lnTo>
                    <a:pt x="18669" y="38874"/>
                  </a:lnTo>
                  <a:lnTo>
                    <a:pt x="12153" y="33185"/>
                  </a:lnTo>
                  <a:lnTo>
                    <a:pt x="10515" y="29603"/>
                  </a:lnTo>
                  <a:lnTo>
                    <a:pt x="10515" y="20866"/>
                  </a:lnTo>
                  <a:lnTo>
                    <a:pt x="12395" y="17030"/>
                  </a:lnTo>
                  <a:lnTo>
                    <a:pt x="19989" y="10490"/>
                  </a:lnTo>
                  <a:lnTo>
                    <a:pt x="25666" y="8851"/>
                  </a:lnTo>
                  <a:lnTo>
                    <a:pt x="63197" y="8851"/>
                  </a:lnTo>
                  <a:lnTo>
                    <a:pt x="62484" y="8140"/>
                  </a:lnTo>
                  <a:lnTo>
                    <a:pt x="57835" y="5283"/>
                  </a:lnTo>
                  <a:lnTo>
                    <a:pt x="46431" y="1054"/>
                  </a:lnTo>
                  <a:lnTo>
                    <a:pt x="40144" y="0"/>
                  </a:lnTo>
                  <a:close/>
                </a:path>
                <a:path w="68580" h="97790">
                  <a:moveTo>
                    <a:pt x="63197" y="8851"/>
                  </a:moveTo>
                  <a:lnTo>
                    <a:pt x="38404" y="8851"/>
                  </a:lnTo>
                  <a:lnTo>
                    <a:pt x="42951" y="9613"/>
                  </a:lnTo>
                  <a:lnTo>
                    <a:pt x="50888" y="12611"/>
                  </a:lnTo>
                  <a:lnTo>
                    <a:pt x="54165" y="14732"/>
                  </a:lnTo>
                  <a:lnTo>
                    <a:pt x="56769" y="17449"/>
                  </a:lnTo>
                  <a:lnTo>
                    <a:pt x="57988" y="30734"/>
                  </a:lnTo>
                  <a:lnTo>
                    <a:pt x="66497" y="30734"/>
                  </a:lnTo>
                  <a:lnTo>
                    <a:pt x="66078" y="11722"/>
                  </a:lnTo>
                  <a:lnTo>
                    <a:pt x="63197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1" name="object 168">
              <a:extLst>
                <a:ext uri="{FF2B5EF4-FFF2-40B4-BE49-F238E27FC236}">
                  <a16:creationId xmlns:a16="http://schemas.microsoft.com/office/drawing/2014/main" id="{BB4A91B4-3F3B-4B68-A014-8F85D606D632}"/>
                </a:ext>
              </a:extLst>
            </p:cNvPr>
            <p:cNvSpPr/>
            <p:nvPr/>
          </p:nvSpPr>
          <p:spPr>
            <a:xfrm>
              <a:off x="1032423" y="7136600"/>
              <a:ext cx="324418" cy="137147"/>
            </a:xfrm>
            <a:prstGeom prst="rect">
              <a:avLst/>
            </a:prstGeom>
            <a:blipFill>
              <a:blip r:embed="rId3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2" name="object 169">
              <a:extLst>
                <a:ext uri="{FF2B5EF4-FFF2-40B4-BE49-F238E27FC236}">
                  <a16:creationId xmlns:a16="http://schemas.microsoft.com/office/drawing/2014/main" id="{19C3FE93-F8E9-48F9-B865-BCA28D9B846F}"/>
                </a:ext>
              </a:extLst>
            </p:cNvPr>
            <p:cNvSpPr/>
            <p:nvPr/>
          </p:nvSpPr>
          <p:spPr>
            <a:xfrm>
              <a:off x="1377086" y="7176261"/>
              <a:ext cx="68402" cy="97497"/>
            </a:xfrm>
            <a:prstGeom prst="rect">
              <a:avLst/>
            </a:prstGeom>
            <a:blipFill>
              <a:blip r:embed="rId3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3" name="object 170">
              <a:extLst>
                <a:ext uri="{FF2B5EF4-FFF2-40B4-BE49-F238E27FC236}">
                  <a16:creationId xmlns:a16="http://schemas.microsoft.com/office/drawing/2014/main" id="{BA7D7EE1-180F-4CCA-AEC7-6D18930A40F4}"/>
                </a:ext>
              </a:extLst>
            </p:cNvPr>
            <p:cNvSpPr/>
            <p:nvPr/>
          </p:nvSpPr>
          <p:spPr>
            <a:xfrm>
              <a:off x="1505737" y="7176249"/>
              <a:ext cx="100330" cy="95885"/>
            </a:xfrm>
            <a:custGeom>
              <a:avLst/>
              <a:gdLst/>
              <a:ahLst/>
              <a:cxnLst/>
              <a:rect l="l" t="t" r="r" b="b"/>
              <a:pathLst>
                <a:path w="100330" h="95884">
                  <a:moveTo>
                    <a:pt x="23342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35" y="10591"/>
                  </a:lnTo>
                  <a:lnTo>
                    <a:pt x="14135" y="86906"/>
                  </a:lnTo>
                  <a:lnTo>
                    <a:pt x="0" y="88036"/>
                  </a:lnTo>
                  <a:lnTo>
                    <a:pt x="0" y="95681"/>
                  </a:lnTo>
                  <a:lnTo>
                    <a:pt x="38722" y="95681"/>
                  </a:lnTo>
                  <a:lnTo>
                    <a:pt x="38722" y="88036"/>
                  </a:lnTo>
                  <a:lnTo>
                    <a:pt x="24561" y="86906"/>
                  </a:lnTo>
                  <a:lnTo>
                    <a:pt x="24561" y="30124"/>
                  </a:lnTo>
                  <a:lnTo>
                    <a:pt x="26593" y="23761"/>
                  </a:lnTo>
                  <a:lnTo>
                    <a:pt x="29908" y="18656"/>
                  </a:lnTo>
                  <a:lnTo>
                    <a:pt x="30513" y="18148"/>
                  </a:lnTo>
                  <a:lnTo>
                    <a:pt x="24307" y="18148"/>
                  </a:lnTo>
                  <a:lnTo>
                    <a:pt x="23342" y="1739"/>
                  </a:lnTo>
                  <a:close/>
                </a:path>
                <a:path w="100330" h="95884">
                  <a:moveTo>
                    <a:pt x="77693" y="9029"/>
                  </a:moveTo>
                  <a:lnTo>
                    <a:pt x="59753" y="9029"/>
                  </a:lnTo>
                  <a:lnTo>
                    <a:pt x="65455" y="11264"/>
                  </a:lnTo>
                  <a:lnTo>
                    <a:pt x="73520" y="20167"/>
                  </a:lnTo>
                  <a:lnTo>
                    <a:pt x="75526" y="27787"/>
                  </a:lnTo>
                  <a:lnTo>
                    <a:pt x="75526" y="86906"/>
                  </a:lnTo>
                  <a:lnTo>
                    <a:pt x="61366" y="88036"/>
                  </a:lnTo>
                  <a:lnTo>
                    <a:pt x="61366" y="95681"/>
                  </a:lnTo>
                  <a:lnTo>
                    <a:pt x="100088" y="95681"/>
                  </a:lnTo>
                  <a:lnTo>
                    <a:pt x="100088" y="88036"/>
                  </a:lnTo>
                  <a:lnTo>
                    <a:pt x="85953" y="86906"/>
                  </a:lnTo>
                  <a:lnTo>
                    <a:pt x="85953" y="38468"/>
                  </a:lnTo>
                  <a:lnTo>
                    <a:pt x="85451" y="29224"/>
                  </a:lnTo>
                  <a:lnTo>
                    <a:pt x="83950" y="21288"/>
                  </a:lnTo>
                  <a:lnTo>
                    <a:pt x="81453" y="14661"/>
                  </a:lnTo>
                  <a:lnTo>
                    <a:pt x="77965" y="9347"/>
                  </a:lnTo>
                  <a:lnTo>
                    <a:pt x="77693" y="9029"/>
                  </a:lnTo>
                  <a:close/>
                </a:path>
                <a:path w="100330" h="95884">
                  <a:moveTo>
                    <a:pt x="64858" y="0"/>
                  </a:moveTo>
                  <a:lnTo>
                    <a:pt x="47675" y="0"/>
                  </a:lnTo>
                  <a:lnTo>
                    <a:pt x="41617" y="1574"/>
                  </a:lnTo>
                  <a:lnTo>
                    <a:pt x="31381" y="7886"/>
                  </a:lnTo>
                  <a:lnTo>
                    <a:pt x="27305" y="12357"/>
                  </a:lnTo>
                  <a:lnTo>
                    <a:pt x="24307" y="18148"/>
                  </a:lnTo>
                  <a:lnTo>
                    <a:pt x="30513" y="18148"/>
                  </a:lnTo>
                  <a:lnTo>
                    <a:pt x="39116" y="10960"/>
                  </a:lnTo>
                  <a:lnTo>
                    <a:pt x="45046" y="9029"/>
                  </a:lnTo>
                  <a:lnTo>
                    <a:pt x="77693" y="9029"/>
                  </a:lnTo>
                  <a:lnTo>
                    <a:pt x="72631" y="3111"/>
                  </a:lnTo>
                  <a:lnTo>
                    <a:pt x="64858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4" name="object 171">
              <a:extLst>
                <a:ext uri="{FF2B5EF4-FFF2-40B4-BE49-F238E27FC236}">
                  <a16:creationId xmlns:a16="http://schemas.microsoft.com/office/drawing/2014/main" id="{8E77A17C-32FB-421F-BEB1-55D872D0FC50}"/>
                </a:ext>
              </a:extLst>
            </p:cNvPr>
            <p:cNvSpPr/>
            <p:nvPr/>
          </p:nvSpPr>
          <p:spPr>
            <a:xfrm>
              <a:off x="1622780" y="7176261"/>
              <a:ext cx="83185" cy="97790"/>
            </a:xfrm>
            <a:custGeom>
              <a:avLst/>
              <a:gdLst/>
              <a:ahLst/>
              <a:cxnLst/>
              <a:rect l="l" t="t" r="r" b="b"/>
              <a:pathLst>
                <a:path w="83185" h="97790">
                  <a:moveTo>
                    <a:pt x="64333" y="8851"/>
                  </a:moveTo>
                  <a:lnTo>
                    <a:pt x="45516" y="8851"/>
                  </a:lnTo>
                  <a:lnTo>
                    <a:pt x="51536" y="10769"/>
                  </a:lnTo>
                  <a:lnTo>
                    <a:pt x="60172" y="18402"/>
                  </a:lnTo>
                  <a:lnTo>
                    <a:pt x="62331" y="23672"/>
                  </a:lnTo>
                  <a:lnTo>
                    <a:pt x="62331" y="42799"/>
                  </a:lnTo>
                  <a:lnTo>
                    <a:pt x="41567" y="42799"/>
                  </a:lnTo>
                  <a:lnTo>
                    <a:pt x="32480" y="43275"/>
                  </a:lnTo>
                  <a:lnTo>
                    <a:pt x="0" y="62420"/>
                  </a:lnTo>
                  <a:lnTo>
                    <a:pt x="0" y="79197"/>
                  </a:lnTo>
                  <a:lnTo>
                    <a:pt x="2501" y="85623"/>
                  </a:lnTo>
                  <a:lnTo>
                    <a:pt x="12572" y="95123"/>
                  </a:lnTo>
                  <a:lnTo>
                    <a:pt x="19697" y="97497"/>
                  </a:lnTo>
                  <a:lnTo>
                    <a:pt x="36131" y="97497"/>
                  </a:lnTo>
                  <a:lnTo>
                    <a:pt x="42633" y="95872"/>
                  </a:lnTo>
                  <a:lnTo>
                    <a:pt x="54216" y="89395"/>
                  </a:lnTo>
                  <a:lnTo>
                    <a:pt x="55476" y="88290"/>
                  </a:lnTo>
                  <a:lnTo>
                    <a:pt x="23888" y="88290"/>
                  </a:lnTo>
                  <a:lnTo>
                    <a:pt x="19075" y="86741"/>
                  </a:lnTo>
                  <a:lnTo>
                    <a:pt x="12077" y="80556"/>
                  </a:lnTo>
                  <a:lnTo>
                    <a:pt x="10312" y="76479"/>
                  </a:lnTo>
                  <a:lnTo>
                    <a:pt x="10312" y="65481"/>
                  </a:lnTo>
                  <a:lnTo>
                    <a:pt x="13144" y="60553"/>
                  </a:lnTo>
                  <a:lnTo>
                    <a:pt x="24434" y="52743"/>
                  </a:lnTo>
                  <a:lnTo>
                    <a:pt x="31965" y="50787"/>
                  </a:lnTo>
                  <a:lnTo>
                    <a:pt x="72643" y="50787"/>
                  </a:lnTo>
                  <a:lnTo>
                    <a:pt x="72643" y="20726"/>
                  </a:lnTo>
                  <a:lnTo>
                    <a:pt x="69494" y="13169"/>
                  </a:lnTo>
                  <a:lnTo>
                    <a:pt x="64333" y="8851"/>
                  </a:lnTo>
                  <a:close/>
                </a:path>
                <a:path w="83185" h="97790">
                  <a:moveTo>
                    <a:pt x="72691" y="80391"/>
                  </a:moveTo>
                  <a:lnTo>
                    <a:pt x="62331" y="80391"/>
                  </a:lnTo>
                  <a:lnTo>
                    <a:pt x="62413" y="84023"/>
                  </a:lnTo>
                  <a:lnTo>
                    <a:pt x="62483" y="85102"/>
                  </a:lnTo>
                  <a:lnTo>
                    <a:pt x="63055" y="89738"/>
                  </a:lnTo>
                  <a:lnTo>
                    <a:pt x="63550" y="92481"/>
                  </a:lnTo>
                  <a:lnTo>
                    <a:pt x="64236" y="95669"/>
                  </a:lnTo>
                  <a:lnTo>
                    <a:pt x="82715" y="95669"/>
                  </a:lnTo>
                  <a:lnTo>
                    <a:pt x="82715" y="88023"/>
                  </a:lnTo>
                  <a:lnTo>
                    <a:pt x="73342" y="87426"/>
                  </a:lnTo>
                  <a:lnTo>
                    <a:pt x="73075" y="85750"/>
                  </a:lnTo>
                  <a:lnTo>
                    <a:pt x="72872" y="84023"/>
                  </a:lnTo>
                  <a:lnTo>
                    <a:pt x="72691" y="80391"/>
                  </a:lnTo>
                  <a:close/>
                </a:path>
                <a:path w="83185" h="97790">
                  <a:moveTo>
                    <a:pt x="72643" y="50787"/>
                  </a:moveTo>
                  <a:lnTo>
                    <a:pt x="62331" y="50787"/>
                  </a:lnTo>
                  <a:lnTo>
                    <a:pt x="62331" y="69621"/>
                  </a:lnTo>
                  <a:lnTo>
                    <a:pt x="59778" y="75120"/>
                  </a:lnTo>
                  <a:lnTo>
                    <a:pt x="55638" y="79603"/>
                  </a:lnTo>
                  <a:lnTo>
                    <a:pt x="44170" y="86550"/>
                  </a:lnTo>
                  <a:lnTo>
                    <a:pt x="37553" y="88290"/>
                  </a:lnTo>
                  <a:lnTo>
                    <a:pt x="55476" y="88290"/>
                  </a:lnTo>
                  <a:lnTo>
                    <a:pt x="58864" y="85318"/>
                  </a:lnTo>
                  <a:lnTo>
                    <a:pt x="62331" y="80391"/>
                  </a:lnTo>
                  <a:lnTo>
                    <a:pt x="72691" y="80391"/>
                  </a:lnTo>
                  <a:lnTo>
                    <a:pt x="72643" y="50787"/>
                  </a:lnTo>
                  <a:close/>
                </a:path>
                <a:path w="83185" h="97790">
                  <a:moveTo>
                    <a:pt x="38201" y="0"/>
                  </a:moveTo>
                  <a:lnTo>
                    <a:pt x="31356" y="0"/>
                  </a:lnTo>
                  <a:lnTo>
                    <a:pt x="24930" y="1041"/>
                  </a:lnTo>
                  <a:lnTo>
                    <a:pt x="12826" y="5207"/>
                  </a:lnTo>
                  <a:lnTo>
                    <a:pt x="7632" y="7924"/>
                  </a:lnTo>
                  <a:lnTo>
                    <a:pt x="3301" y="11290"/>
                  </a:lnTo>
                  <a:lnTo>
                    <a:pt x="3200" y="29337"/>
                  </a:lnTo>
                  <a:lnTo>
                    <a:pt x="11798" y="29337"/>
                  </a:lnTo>
                  <a:lnTo>
                    <a:pt x="12674" y="16751"/>
                  </a:lnTo>
                  <a:lnTo>
                    <a:pt x="15544" y="14325"/>
                  </a:lnTo>
                  <a:lnTo>
                    <a:pt x="19176" y="12395"/>
                  </a:lnTo>
                  <a:lnTo>
                    <a:pt x="27774" y="9563"/>
                  </a:lnTo>
                  <a:lnTo>
                    <a:pt x="32537" y="8851"/>
                  </a:lnTo>
                  <a:lnTo>
                    <a:pt x="64333" y="8851"/>
                  </a:lnTo>
                  <a:lnTo>
                    <a:pt x="63195" y="7899"/>
                  </a:lnTo>
                  <a:lnTo>
                    <a:pt x="58075" y="4441"/>
                  </a:lnTo>
                  <a:lnTo>
                    <a:pt x="52203" y="1973"/>
                  </a:lnTo>
                  <a:lnTo>
                    <a:pt x="45578" y="493"/>
                  </a:lnTo>
                  <a:lnTo>
                    <a:pt x="38201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5" name="object 172">
              <a:extLst>
                <a:ext uri="{FF2B5EF4-FFF2-40B4-BE49-F238E27FC236}">
                  <a16:creationId xmlns:a16="http://schemas.microsoft.com/office/drawing/2014/main" id="{EB028740-CBBA-406D-856E-B9ADB5E4E341}"/>
                </a:ext>
              </a:extLst>
            </p:cNvPr>
            <p:cNvSpPr/>
            <p:nvPr/>
          </p:nvSpPr>
          <p:spPr>
            <a:xfrm>
              <a:off x="1717471" y="7153947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5" h="120015">
                  <a:moveTo>
                    <a:pt x="26669" y="32550"/>
                  </a:moveTo>
                  <a:lnTo>
                    <a:pt x="16154" y="32550"/>
                  </a:lnTo>
                  <a:lnTo>
                    <a:pt x="16154" y="102793"/>
                  </a:lnTo>
                  <a:lnTo>
                    <a:pt x="17994" y="109397"/>
                  </a:lnTo>
                  <a:lnTo>
                    <a:pt x="21678" y="113550"/>
                  </a:lnTo>
                  <a:lnTo>
                    <a:pt x="25349" y="117729"/>
                  </a:lnTo>
                  <a:lnTo>
                    <a:pt x="30492" y="119811"/>
                  </a:lnTo>
                  <a:lnTo>
                    <a:pt x="39573" y="119811"/>
                  </a:lnTo>
                  <a:lnTo>
                    <a:pt x="42049" y="119608"/>
                  </a:lnTo>
                  <a:lnTo>
                    <a:pt x="47040" y="118795"/>
                  </a:lnTo>
                  <a:lnTo>
                    <a:pt x="49148" y="118224"/>
                  </a:lnTo>
                  <a:lnTo>
                    <a:pt x="50876" y="117462"/>
                  </a:lnTo>
                  <a:lnTo>
                    <a:pt x="49506" y="110693"/>
                  </a:lnTo>
                  <a:lnTo>
                    <a:pt x="35204" y="110693"/>
                  </a:lnTo>
                  <a:lnTo>
                    <a:pt x="32208" y="109385"/>
                  </a:lnTo>
                  <a:lnTo>
                    <a:pt x="27787" y="104254"/>
                  </a:lnTo>
                  <a:lnTo>
                    <a:pt x="26669" y="99898"/>
                  </a:lnTo>
                  <a:lnTo>
                    <a:pt x="26669" y="32550"/>
                  </a:lnTo>
                  <a:close/>
                </a:path>
                <a:path w="51435" h="120015">
                  <a:moveTo>
                    <a:pt x="49314" y="109740"/>
                  </a:moveTo>
                  <a:lnTo>
                    <a:pt x="47231" y="110083"/>
                  </a:lnTo>
                  <a:lnTo>
                    <a:pt x="45402" y="110337"/>
                  </a:lnTo>
                  <a:lnTo>
                    <a:pt x="42227" y="110617"/>
                  </a:lnTo>
                  <a:lnTo>
                    <a:pt x="40589" y="110693"/>
                  </a:lnTo>
                  <a:lnTo>
                    <a:pt x="49506" y="110693"/>
                  </a:lnTo>
                  <a:lnTo>
                    <a:pt x="49314" y="109740"/>
                  </a:lnTo>
                  <a:close/>
                </a:path>
                <a:path w="51435" h="120015">
                  <a:moveTo>
                    <a:pt x="47332" y="24053"/>
                  </a:moveTo>
                  <a:lnTo>
                    <a:pt x="0" y="24053"/>
                  </a:lnTo>
                  <a:lnTo>
                    <a:pt x="0" y="32550"/>
                  </a:lnTo>
                  <a:lnTo>
                    <a:pt x="47332" y="32550"/>
                  </a:lnTo>
                  <a:lnTo>
                    <a:pt x="47332" y="24053"/>
                  </a:lnTo>
                  <a:close/>
                </a:path>
                <a:path w="51435" h="120015">
                  <a:moveTo>
                    <a:pt x="26669" y="0"/>
                  </a:moveTo>
                  <a:lnTo>
                    <a:pt x="16154" y="0"/>
                  </a:lnTo>
                  <a:lnTo>
                    <a:pt x="16154" y="24053"/>
                  </a:lnTo>
                  <a:lnTo>
                    <a:pt x="26669" y="24053"/>
                  </a:lnTo>
                  <a:lnTo>
                    <a:pt x="26669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6" name="object 173">
              <a:extLst>
                <a:ext uri="{FF2B5EF4-FFF2-40B4-BE49-F238E27FC236}">
                  <a16:creationId xmlns:a16="http://schemas.microsoft.com/office/drawing/2014/main" id="{6B806CD9-2C02-4C26-9D88-5CF8684C9EBA}"/>
                </a:ext>
              </a:extLst>
            </p:cNvPr>
            <p:cNvSpPr/>
            <p:nvPr/>
          </p:nvSpPr>
          <p:spPr>
            <a:xfrm>
              <a:off x="1779460" y="7177988"/>
              <a:ext cx="96520" cy="95885"/>
            </a:xfrm>
            <a:custGeom>
              <a:avLst/>
              <a:gdLst/>
              <a:ahLst/>
              <a:cxnLst/>
              <a:rect l="l" t="t" r="r" b="b"/>
              <a:pathLst>
                <a:path w="96519" h="95884">
                  <a:moveTo>
                    <a:pt x="21970" y="0"/>
                  </a:moveTo>
                  <a:lnTo>
                    <a:pt x="0" y="0"/>
                  </a:lnTo>
                  <a:lnTo>
                    <a:pt x="0" y="7734"/>
                  </a:lnTo>
                  <a:lnTo>
                    <a:pt x="11633" y="8864"/>
                  </a:lnTo>
                  <a:lnTo>
                    <a:pt x="11633" y="54432"/>
                  </a:lnTo>
                  <a:lnTo>
                    <a:pt x="25590" y="92405"/>
                  </a:lnTo>
                  <a:lnTo>
                    <a:pt x="33337" y="95757"/>
                  </a:lnTo>
                  <a:lnTo>
                    <a:pt x="50177" y="95757"/>
                  </a:lnTo>
                  <a:lnTo>
                    <a:pt x="56235" y="94259"/>
                  </a:lnTo>
                  <a:lnTo>
                    <a:pt x="66471" y="88239"/>
                  </a:lnTo>
                  <a:lnTo>
                    <a:pt x="67901" y="86728"/>
                  </a:lnTo>
                  <a:lnTo>
                    <a:pt x="37274" y="86728"/>
                  </a:lnTo>
                  <a:lnTo>
                    <a:pt x="31749" y="84239"/>
                  </a:lnTo>
                  <a:lnTo>
                    <a:pt x="27825" y="79273"/>
                  </a:lnTo>
                  <a:lnTo>
                    <a:pt x="23939" y="74294"/>
                  </a:lnTo>
                  <a:lnTo>
                    <a:pt x="21970" y="66065"/>
                  </a:lnTo>
                  <a:lnTo>
                    <a:pt x="21970" y="0"/>
                  </a:lnTo>
                  <a:close/>
                </a:path>
                <a:path w="96519" h="95884">
                  <a:moveTo>
                    <a:pt x="83515" y="78485"/>
                  </a:moveTo>
                  <a:lnTo>
                    <a:pt x="73444" y="78485"/>
                  </a:lnTo>
                  <a:lnTo>
                    <a:pt x="74409" y="93941"/>
                  </a:lnTo>
                  <a:lnTo>
                    <a:pt x="96113" y="93941"/>
                  </a:lnTo>
                  <a:lnTo>
                    <a:pt x="96113" y="86296"/>
                  </a:lnTo>
                  <a:lnTo>
                    <a:pt x="83515" y="85166"/>
                  </a:lnTo>
                  <a:lnTo>
                    <a:pt x="83515" y="78485"/>
                  </a:lnTo>
                  <a:close/>
                </a:path>
                <a:path w="96519" h="95884">
                  <a:moveTo>
                    <a:pt x="83515" y="0"/>
                  </a:moveTo>
                  <a:lnTo>
                    <a:pt x="59728" y="0"/>
                  </a:lnTo>
                  <a:lnTo>
                    <a:pt x="59728" y="7734"/>
                  </a:lnTo>
                  <a:lnTo>
                    <a:pt x="73101" y="8864"/>
                  </a:lnTo>
                  <a:lnTo>
                    <a:pt x="73101" y="67106"/>
                  </a:lnTo>
                  <a:lnTo>
                    <a:pt x="71183" y="73253"/>
                  </a:lnTo>
                  <a:lnTo>
                    <a:pt x="67906" y="78054"/>
                  </a:lnTo>
                  <a:lnTo>
                    <a:pt x="58585" y="85001"/>
                  </a:lnTo>
                  <a:lnTo>
                    <a:pt x="52336" y="86728"/>
                  </a:lnTo>
                  <a:lnTo>
                    <a:pt x="67901" y="86728"/>
                  </a:lnTo>
                  <a:lnTo>
                    <a:pt x="70497" y="83985"/>
                  </a:lnTo>
                  <a:lnTo>
                    <a:pt x="73444" y="78485"/>
                  </a:lnTo>
                  <a:lnTo>
                    <a:pt x="83515" y="78485"/>
                  </a:lnTo>
                  <a:lnTo>
                    <a:pt x="83515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7" name="object 174">
              <a:extLst>
                <a:ext uri="{FF2B5EF4-FFF2-40B4-BE49-F238E27FC236}">
                  <a16:creationId xmlns:a16="http://schemas.microsoft.com/office/drawing/2014/main" id="{FF685CEB-2FFD-4219-8834-595ACED8E1FC}"/>
                </a:ext>
              </a:extLst>
            </p:cNvPr>
            <p:cNvSpPr/>
            <p:nvPr/>
          </p:nvSpPr>
          <p:spPr>
            <a:xfrm>
              <a:off x="1890166" y="7176249"/>
              <a:ext cx="59055" cy="95885"/>
            </a:xfrm>
            <a:custGeom>
              <a:avLst/>
              <a:gdLst/>
              <a:ahLst/>
              <a:cxnLst/>
              <a:rect l="l" t="t" r="r" b="b"/>
              <a:pathLst>
                <a:path w="59055" h="95884">
                  <a:moveTo>
                    <a:pt x="23164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35" y="10591"/>
                  </a:lnTo>
                  <a:lnTo>
                    <a:pt x="14135" y="86906"/>
                  </a:lnTo>
                  <a:lnTo>
                    <a:pt x="0" y="88036"/>
                  </a:lnTo>
                  <a:lnTo>
                    <a:pt x="0" y="95669"/>
                  </a:lnTo>
                  <a:lnTo>
                    <a:pt x="38620" y="95669"/>
                  </a:lnTo>
                  <a:lnTo>
                    <a:pt x="38620" y="88036"/>
                  </a:lnTo>
                  <a:lnTo>
                    <a:pt x="24485" y="86906"/>
                  </a:lnTo>
                  <a:lnTo>
                    <a:pt x="24485" y="30822"/>
                  </a:lnTo>
                  <a:lnTo>
                    <a:pt x="26263" y="24396"/>
                  </a:lnTo>
                  <a:lnTo>
                    <a:pt x="29260" y="19354"/>
                  </a:lnTo>
                  <a:lnTo>
                    <a:pt x="30246" y="18491"/>
                  </a:lnTo>
                  <a:lnTo>
                    <a:pt x="24485" y="18491"/>
                  </a:lnTo>
                  <a:lnTo>
                    <a:pt x="24485" y="17360"/>
                  </a:lnTo>
                  <a:lnTo>
                    <a:pt x="23164" y="1739"/>
                  </a:lnTo>
                  <a:close/>
                </a:path>
                <a:path w="59055" h="95884">
                  <a:moveTo>
                    <a:pt x="53060" y="0"/>
                  </a:moveTo>
                  <a:lnTo>
                    <a:pt x="45415" y="0"/>
                  </a:lnTo>
                  <a:lnTo>
                    <a:pt x="39979" y="1638"/>
                  </a:lnTo>
                  <a:lnTo>
                    <a:pt x="30784" y="8178"/>
                  </a:lnTo>
                  <a:lnTo>
                    <a:pt x="27127" y="12700"/>
                  </a:lnTo>
                  <a:lnTo>
                    <a:pt x="24485" y="18491"/>
                  </a:lnTo>
                  <a:lnTo>
                    <a:pt x="30246" y="18491"/>
                  </a:lnTo>
                  <a:lnTo>
                    <a:pt x="37655" y="12001"/>
                  </a:lnTo>
                  <a:lnTo>
                    <a:pt x="43027" y="10160"/>
                  </a:lnTo>
                  <a:lnTo>
                    <a:pt x="57376" y="10160"/>
                  </a:lnTo>
                  <a:lnTo>
                    <a:pt x="58686" y="952"/>
                  </a:lnTo>
                  <a:lnTo>
                    <a:pt x="57861" y="723"/>
                  </a:lnTo>
                  <a:lnTo>
                    <a:pt x="56845" y="508"/>
                  </a:lnTo>
                  <a:lnTo>
                    <a:pt x="54343" y="101"/>
                  </a:lnTo>
                  <a:lnTo>
                    <a:pt x="53060" y="0"/>
                  </a:lnTo>
                  <a:close/>
                </a:path>
                <a:path w="59055" h="95884">
                  <a:moveTo>
                    <a:pt x="57376" y="10160"/>
                  </a:moveTo>
                  <a:lnTo>
                    <a:pt x="49555" y="10160"/>
                  </a:lnTo>
                  <a:lnTo>
                    <a:pt x="57302" y="10680"/>
                  </a:lnTo>
                  <a:lnTo>
                    <a:pt x="57376" y="1016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8" name="object 175">
              <a:extLst>
                <a:ext uri="{FF2B5EF4-FFF2-40B4-BE49-F238E27FC236}">
                  <a16:creationId xmlns:a16="http://schemas.microsoft.com/office/drawing/2014/main" id="{51CBD3D7-3BBE-49D3-9377-624996CF76AC}"/>
                </a:ext>
              </a:extLst>
            </p:cNvPr>
            <p:cNvSpPr/>
            <p:nvPr/>
          </p:nvSpPr>
          <p:spPr>
            <a:xfrm>
              <a:off x="1962924" y="7176261"/>
              <a:ext cx="83185" cy="97790"/>
            </a:xfrm>
            <a:custGeom>
              <a:avLst/>
              <a:gdLst/>
              <a:ahLst/>
              <a:cxnLst/>
              <a:rect l="l" t="t" r="r" b="b"/>
              <a:pathLst>
                <a:path w="83185" h="97790">
                  <a:moveTo>
                    <a:pt x="64333" y="8851"/>
                  </a:moveTo>
                  <a:lnTo>
                    <a:pt x="45516" y="8851"/>
                  </a:lnTo>
                  <a:lnTo>
                    <a:pt x="51536" y="10769"/>
                  </a:lnTo>
                  <a:lnTo>
                    <a:pt x="60172" y="18402"/>
                  </a:lnTo>
                  <a:lnTo>
                    <a:pt x="62331" y="23672"/>
                  </a:lnTo>
                  <a:lnTo>
                    <a:pt x="62331" y="42799"/>
                  </a:lnTo>
                  <a:lnTo>
                    <a:pt x="41567" y="42799"/>
                  </a:lnTo>
                  <a:lnTo>
                    <a:pt x="32480" y="43275"/>
                  </a:lnTo>
                  <a:lnTo>
                    <a:pt x="0" y="62420"/>
                  </a:lnTo>
                  <a:lnTo>
                    <a:pt x="0" y="79197"/>
                  </a:lnTo>
                  <a:lnTo>
                    <a:pt x="2501" y="85623"/>
                  </a:lnTo>
                  <a:lnTo>
                    <a:pt x="12573" y="95123"/>
                  </a:lnTo>
                  <a:lnTo>
                    <a:pt x="19697" y="97497"/>
                  </a:lnTo>
                  <a:lnTo>
                    <a:pt x="36131" y="97497"/>
                  </a:lnTo>
                  <a:lnTo>
                    <a:pt x="42633" y="95872"/>
                  </a:lnTo>
                  <a:lnTo>
                    <a:pt x="54216" y="89395"/>
                  </a:lnTo>
                  <a:lnTo>
                    <a:pt x="55476" y="88290"/>
                  </a:lnTo>
                  <a:lnTo>
                    <a:pt x="23888" y="88290"/>
                  </a:lnTo>
                  <a:lnTo>
                    <a:pt x="19075" y="86741"/>
                  </a:lnTo>
                  <a:lnTo>
                    <a:pt x="12077" y="80556"/>
                  </a:lnTo>
                  <a:lnTo>
                    <a:pt x="10312" y="76479"/>
                  </a:lnTo>
                  <a:lnTo>
                    <a:pt x="10312" y="65481"/>
                  </a:lnTo>
                  <a:lnTo>
                    <a:pt x="13144" y="60553"/>
                  </a:lnTo>
                  <a:lnTo>
                    <a:pt x="24434" y="52743"/>
                  </a:lnTo>
                  <a:lnTo>
                    <a:pt x="31965" y="50787"/>
                  </a:lnTo>
                  <a:lnTo>
                    <a:pt x="72644" y="50787"/>
                  </a:lnTo>
                  <a:lnTo>
                    <a:pt x="72644" y="20726"/>
                  </a:lnTo>
                  <a:lnTo>
                    <a:pt x="69494" y="13169"/>
                  </a:lnTo>
                  <a:lnTo>
                    <a:pt x="64333" y="8851"/>
                  </a:lnTo>
                  <a:close/>
                </a:path>
                <a:path w="83185" h="97790">
                  <a:moveTo>
                    <a:pt x="72691" y="80391"/>
                  </a:moveTo>
                  <a:lnTo>
                    <a:pt x="62331" y="80391"/>
                  </a:lnTo>
                  <a:lnTo>
                    <a:pt x="62413" y="84023"/>
                  </a:lnTo>
                  <a:lnTo>
                    <a:pt x="62484" y="85102"/>
                  </a:lnTo>
                  <a:lnTo>
                    <a:pt x="63055" y="89738"/>
                  </a:lnTo>
                  <a:lnTo>
                    <a:pt x="63550" y="92481"/>
                  </a:lnTo>
                  <a:lnTo>
                    <a:pt x="64236" y="95669"/>
                  </a:lnTo>
                  <a:lnTo>
                    <a:pt x="82715" y="95669"/>
                  </a:lnTo>
                  <a:lnTo>
                    <a:pt x="82715" y="88023"/>
                  </a:lnTo>
                  <a:lnTo>
                    <a:pt x="73342" y="87426"/>
                  </a:lnTo>
                  <a:lnTo>
                    <a:pt x="73075" y="85750"/>
                  </a:lnTo>
                  <a:lnTo>
                    <a:pt x="72872" y="84023"/>
                  </a:lnTo>
                  <a:lnTo>
                    <a:pt x="72691" y="80391"/>
                  </a:lnTo>
                  <a:close/>
                </a:path>
                <a:path w="83185" h="97790">
                  <a:moveTo>
                    <a:pt x="72644" y="50787"/>
                  </a:moveTo>
                  <a:lnTo>
                    <a:pt x="62331" y="50787"/>
                  </a:lnTo>
                  <a:lnTo>
                    <a:pt x="62331" y="69621"/>
                  </a:lnTo>
                  <a:lnTo>
                    <a:pt x="59778" y="75120"/>
                  </a:lnTo>
                  <a:lnTo>
                    <a:pt x="55638" y="79603"/>
                  </a:lnTo>
                  <a:lnTo>
                    <a:pt x="44170" y="86550"/>
                  </a:lnTo>
                  <a:lnTo>
                    <a:pt x="37553" y="88290"/>
                  </a:lnTo>
                  <a:lnTo>
                    <a:pt x="55476" y="88290"/>
                  </a:lnTo>
                  <a:lnTo>
                    <a:pt x="58864" y="85318"/>
                  </a:lnTo>
                  <a:lnTo>
                    <a:pt x="62331" y="80391"/>
                  </a:lnTo>
                  <a:lnTo>
                    <a:pt x="72691" y="80391"/>
                  </a:lnTo>
                  <a:lnTo>
                    <a:pt x="72644" y="50787"/>
                  </a:lnTo>
                  <a:close/>
                </a:path>
                <a:path w="83185" h="97790">
                  <a:moveTo>
                    <a:pt x="38201" y="0"/>
                  </a:moveTo>
                  <a:lnTo>
                    <a:pt x="31356" y="0"/>
                  </a:lnTo>
                  <a:lnTo>
                    <a:pt x="24930" y="1041"/>
                  </a:lnTo>
                  <a:lnTo>
                    <a:pt x="12827" y="5207"/>
                  </a:lnTo>
                  <a:lnTo>
                    <a:pt x="7632" y="7924"/>
                  </a:lnTo>
                  <a:lnTo>
                    <a:pt x="3302" y="11290"/>
                  </a:lnTo>
                  <a:lnTo>
                    <a:pt x="3200" y="29337"/>
                  </a:lnTo>
                  <a:lnTo>
                    <a:pt x="11798" y="29337"/>
                  </a:lnTo>
                  <a:lnTo>
                    <a:pt x="12674" y="16751"/>
                  </a:lnTo>
                  <a:lnTo>
                    <a:pt x="15544" y="14325"/>
                  </a:lnTo>
                  <a:lnTo>
                    <a:pt x="19177" y="12395"/>
                  </a:lnTo>
                  <a:lnTo>
                    <a:pt x="27774" y="9563"/>
                  </a:lnTo>
                  <a:lnTo>
                    <a:pt x="32537" y="8851"/>
                  </a:lnTo>
                  <a:lnTo>
                    <a:pt x="64333" y="8851"/>
                  </a:lnTo>
                  <a:lnTo>
                    <a:pt x="63195" y="7899"/>
                  </a:lnTo>
                  <a:lnTo>
                    <a:pt x="58075" y="4441"/>
                  </a:lnTo>
                  <a:lnTo>
                    <a:pt x="52203" y="1973"/>
                  </a:lnTo>
                  <a:lnTo>
                    <a:pt x="45578" y="493"/>
                  </a:lnTo>
                  <a:lnTo>
                    <a:pt x="38201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9" name="object 176">
              <a:extLst>
                <a:ext uri="{FF2B5EF4-FFF2-40B4-BE49-F238E27FC236}">
                  <a16:creationId xmlns:a16="http://schemas.microsoft.com/office/drawing/2014/main" id="{C56B2F5F-C360-4200-AC74-F9494BA5C84B}"/>
                </a:ext>
              </a:extLst>
            </p:cNvPr>
            <p:cNvSpPr/>
            <p:nvPr/>
          </p:nvSpPr>
          <p:spPr>
            <a:xfrm>
              <a:off x="2058314" y="72648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5" h="7620">
                  <a:moveTo>
                    <a:pt x="0" y="7619"/>
                  </a:moveTo>
                  <a:lnTo>
                    <a:pt x="38646" y="7619"/>
                  </a:lnTo>
                  <a:lnTo>
                    <a:pt x="38646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0" name="object 177">
              <a:extLst>
                <a:ext uri="{FF2B5EF4-FFF2-40B4-BE49-F238E27FC236}">
                  <a16:creationId xmlns:a16="http://schemas.microsoft.com/office/drawing/2014/main" id="{7B80E8F8-6A06-45ED-9A98-CD4E27AA5DCB}"/>
                </a:ext>
              </a:extLst>
            </p:cNvPr>
            <p:cNvSpPr/>
            <p:nvPr/>
          </p:nvSpPr>
          <p:spPr>
            <a:xfrm>
              <a:off x="2058950" y="72636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4" h="1270">
                  <a:moveTo>
                    <a:pt x="0" y="1269"/>
                  </a:moveTo>
                  <a:lnTo>
                    <a:pt x="37373" y="1269"/>
                  </a:lnTo>
                  <a:lnTo>
                    <a:pt x="37373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1" name="object 178">
              <a:extLst>
                <a:ext uri="{FF2B5EF4-FFF2-40B4-BE49-F238E27FC236}">
                  <a16:creationId xmlns:a16="http://schemas.microsoft.com/office/drawing/2014/main" id="{AE014B1E-30BD-4952-B4A0-312EE390A3B4}"/>
                </a:ext>
              </a:extLst>
            </p:cNvPr>
            <p:cNvSpPr/>
            <p:nvPr/>
          </p:nvSpPr>
          <p:spPr>
            <a:xfrm>
              <a:off x="2077637" y="7145490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09">
                  <a:moveTo>
                    <a:pt x="0" y="0"/>
                  </a:moveTo>
                  <a:lnTo>
                    <a:pt x="0" y="118110"/>
                  </a:lnTo>
                </a:path>
              </a:pathLst>
            </a:custGeom>
            <a:ln w="10325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2" name="object 179">
              <a:extLst>
                <a:ext uri="{FF2B5EF4-FFF2-40B4-BE49-F238E27FC236}">
                  <a16:creationId xmlns:a16="http://schemas.microsoft.com/office/drawing/2014/main" id="{9FB42ED5-8710-4168-820D-541B2130D7F2}"/>
                </a:ext>
              </a:extLst>
            </p:cNvPr>
            <p:cNvSpPr/>
            <p:nvPr/>
          </p:nvSpPr>
          <p:spPr>
            <a:xfrm>
              <a:off x="2066269" y="71442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4" h="1270">
                  <a:moveTo>
                    <a:pt x="0" y="1269"/>
                  </a:moveTo>
                  <a:lnTo>
                    <a:pt x="16530" y="1269"/>
                  </a:lnTo>
                  <a:lnTo>
                    <a:pt x="16530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3" name="object 180">
              <a:extLst>
                <a:ext uri="{FF2B5EF4-FFF2-40B4-BE49-F238E27FC236}">
                  <a16:creationId xmlns:a16="http://schemas.microsoft.com/office/drawing/2014/main" id="{E78FA044-E320-40D2-B859-A08EA1512CA9}"/>
                </a:ext>
              </a:extLst>
            </p:cNvPr>
            <p:cNvSpPr/>
            <p:nvPr/>
          </p:nvSpPr>
          <p:spPr>
            <a:xfrm>
              <a:off x="2058314" y="71366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4" h="7620">
                  <a:moveTo>
                    <a:pt x="0" y="7619"/>
                  </a:moveTo>
                  <a:lnTo>
                    <a:pt x="24485" y="7619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4" name="object 181">
              <a:extLst>
                <a:ext uri="{FF2B5EF4-FFF2-40B4-BE49-F238E27FC236}">
                  <a16:creationId xmlns:a16="http://schemas.microsoft.com/office/drawing/2014/main" id="{89ABC235-9498-42B7-B09A-97D0A3F7DB46}"/>
                </a:ext>
              </a:extLst>
            </p:cNvPr>
            <p:cNvSpPr/>
            <p:nvPr/>
          </p:nvSpPr>
          <p:spPr>
            <a:xfrm>
              <a:off x="2111273" y="7134669"/>
              <a:ext cx="1313180" cy="175196"/>
            </a:xfrm>
            <a:prstGeom prst="rect">
              <a:avLst/>
            </a:prstGeom>
            <a:blipFill>
              <a:blip r:embed="rId3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5" name="object 182">
              <a:extLst>
                <a:ext uri="{FF2B5EF4-FFF2-40B4-BE49-F238E27FC236}">
                  <a16:creationId xmlns:a16="http://schemas.microsoft.com/office/drawing/2014/main" id="{EF46D093-A6C6-48BC-A52D-F4AD6A1D437F}"/>
                </a:ext>
              </a:extLst>
            </p:cNvPr>
            <p:cNvSpPr/>
            <p:nvPr/>
          </p:nvSpPr>
          <p:spPr>
            <a:xfrm>
              <a:off x="3438448" y="72648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5" h="7620">
                  <a:moveTo>
                    <a:pt x="0" y="7619"/>
                  </a:moveTo>
                  <a:lnTo>
                    <a:pt x="38620" y="7619"/>
                  </a:lnTo>
                  <a:lnTo>
                    <a:pt x="38620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6" name="object 183">
              <a:extLst>
                <a:ext uri="{FF2B5EF4-FFF2-40B4-BE49-F238E27FC236}">
                  <a16:creationId xmlns:a16="http://schemas.microsoft.com/office/drawing/2014/main" id="{CAAF888E-99C9-4F9B-92CD-C05E11CFB8EB}"/>
                </a:ext>
              </a:extLst>
            </p:cNvPr>
            <p:cNvSpPr/>
            <p:nvPr/>
          </p:nvSpPr>
          <p:spPr>
            <a:xfrm>
              <a:off x="3439084" y="72636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4" h="1270">
                  <a:moveTo>
                    <a:pt x="0" y="1269"/>
                  </a:moveTo>
                  <a:lnTo>
                    <a:pt x="37350" y="1269"/>
                  </a:lnTo>
                  <a:lnTo>
                    <a:pt x="37350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7" name="object 184">
              <a:extLst>
                <a:ext uri="{FF2B5EF4-FFF2-40B4-BE49-F238E27FC236}">
                  <a16:creationId xmlns:a16="http://schemas.microsoft.com/office/drawing/2014/main" id="{AACD11A3-58F0-4520-A2E7-7E558B762177}"/>
                </a:ext>
              </a:extLst>
            </p:cNvPr>
            <p:cNvSpPr/>
            <p:nvPr/>
          </p:nvSpPr>
          <p:spPr>
            <a:xfrm>
              <a:off x="3457759" y="7145490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09">
                  <a:moveTo>
                    <a:pt x="0" y="0"/>
                  </a:moveTo>
                  <a:lnTo>
                    <a:pt x="0" y="118110"/>
                  </a:lnTo>
                </a:path>
              </a:pathLst>
            </a:custGeom>
            <a:ln w="10350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8" name="object 185">
              <a:extLst>
                <a:ext uri="{FF2B5EF4-FFF2-40B4-BE49-F238E27FC236}">
                  <a16:creationId xmlns:a16="http://schemas.microsoft.com/office/drawing/2014/main" id="{CB4DDAC1-B10C-4D42-A8F8-A4F19D3945F1}"/>
                </a:ext>
              </a:extLst>
            </p:cNvPr>
            <p:cNvSpPr/>
            <p:nvPr/>
          </p:nvSpPr>
          <p:spPr>
            <a:xfrm>
              <a:off x="3446390" y="71442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5" h="1270">
                  <a:moveTo>
                    <a:pt x="0" y="1269"/>
                  </a:moveTo>
                  <a:lnTo>
                    <a:pt x="16544" y="1269"/>
                  </a:lnTo>
                  <a:lnTo>
                    <a:pt x="16544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9" name="object 186">
              <a:extLst>
                <a:ext uri="{FF2B5EF4-FFF2-40B4-BE49-F238E27FC236}">
                  <a16:creationId xmlns:a16="http://schemas.microsoft.com/office/drawing/2014/main" id="{DD74F37B-54B4-4375-8C33-95DBA91E913D}"/>
                </a:ext>
              </a:extLst>
            </p:cNvPr>
            <p:cNvSpPr/>
            <p:nvPr/>
          </p:nvSpPr>
          <p:spPr>
            <a:xfrm>
              <a:off x="3438448" y="71366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4" h="7620">
                  <a:moveTo>
                    <a:pt x="0" y="7619"/>
                  </a:moveTo>
                  <a:lnTo>
                    <a:pt x="24485" y="7619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0" name="object 187">
              <a:extLst>
                <a:ext uri="{FF2B5EF4-FFF2-40B4-BE49-F238E27FC236}">
                  <a16:creationId xmlns:a16="http://schemas.microsoft.com/office/drawing/2014/main" id="{0772CAF0-CE41-451A-8A6D-33F9F5F1E895}"/>
                </a:ext>
              </a:extLst>
            </p:cNvPr>
            <p:cNvSpPr/>
            <p:nvPr/>
          </p:nvSpPr>
          <p:spPr>
            <a:xfrm>
              <a:off x="3493909" y="7176261"/>
              <a:ext cx="76835" cy="97790"/>
            </a:xfrm>
            <a:custGeom>
              <a:avLst/>
              <a:gdLst/>
              <a:ahLst/>
              <a:cxnLst/>
              <a:rect l="l" t="t" r="r" b="b"/>
              <a:pathLst>
                <a:path w="76835" h="97790">
                  <a:moveTo>
                    <a:pt x="39585" y="0"/>
                  </a:moveTo>
                  <a:lnTo>
                    <a:pt x="6525" y="20351"/>
                  </a:lnTo>
                  <a:lnTo>
                    <a:pt x="0" y="46697"/>
                  </a:lnTo>
                  <a:lnTo>
                    <a:pt x="0" y="51473"/>
                  </a:lnTo>
                  <a:lnTo>
                    <a:pt x="17831" y="90193"/>
                  </a:lnTo>
                  <a:lnTo>
                    <a:pt x="40970" y="97485"/>
                  </a:lnTo>
                  <a:lnTo>
                    <a:pt x="48437" y="97485"/>
                  </a:lnTo>
                  <a:lnTo>
                    <a:pt x="54864" y="96405"/>
                  </a:lnTo>
                  <a:lnTo>
                    <a:pt x="65633" y="92062"/>
                  </a:lnTo>
                  <a:lnTo>
                    <a:pt x="70091" y="89128"/>
                  </a:lnTo>
                  <a:lnTo>
                    <a:pt x="70478" y="88722"/>
                  </a:lnTo>
                  <a:lnTo>
                    <a:pt x="31851" y="88722"/>
                  </a:lnTo>
                  <a:lnTo>
                    <a:pt x="24460" y="85153"/>
                  </a:lnTo>
                  <a:lnTo>
                    <a:pt x="10337" y="51473"/>
                  </a:lnTo>
                  <a:lnTo>
                    <a:pt x="10337" y="48958"/>
                  </a:lnTo>
                  <a:lnTo>
                    <a:pt x="76669" y="48958"/>
                  </a:lnTo>
                  <a:lnTo>
                    <a:pt x="76669" y="40195"/>
                  </a:lnTo>
                  <a:lnTo>
                    <a:pt x="11277" y="40195"/>
                  </a:lnTo>
                  <a:lnTo>
                    <a:pt x="11112" y="39763"/>
                  </a:lnTo>
                  <a:lnTo>
                    <a:pt x="11976" y="30899"/>
                  </a:lnTo>
                  <a:lnTo>
                    <a:pt x="15024" y="23533"/>
                  </a:lnTo>
                  <a:lnTo>
                    <a:pt x="25527" y="11785"/>
                  </a:lnTo>
                  <a:lnTo>
                    <a:pt x="31940" y="8851"/>
                  </a:lnTo>
                  <a:lnTo>
                    <a:pt x="64419" y="8851"/>
                  </a:lnTo>
                  <a:lnTo>
                    <a:pt x="61363" y="6150"/>
                  </a:lnTo>
                  <a:lnTo>
                    <a:pt x="55029" y="2733"/>
                  </a:lnTo>
                  <a:lnTo>
                    <a:pt x="47770" y="683"/>
                  </a:lnTo>
                  <a:lnTo>
                    <a:pt x="39585" y="0"/>
                  </a:lnTo>
                  <a:close/>
                </a:path>
                <a:path w="76835" h="97790">
                  <a:moveTo>
                    <a:pt x="69202" y="78308"/>
                  </a:moveTo>
                  <a:lnTo>
                    <a:pt x="65951" y="81661"/>
                  </a:lnTo>
                  <a:lnTo>
                    <a:pt x="62064" y="84239"/>
                  </a:lnTo>
                  <a:lnTo>
                    <a:pt x="52908" y="87833"/>
                  </a:lnTo>
                  <a:lnTo>
                    <a:pt x="47396" y="88722"/>
                  </a:lnTo>
                  <a:lnTo>
                    <a:pt x="70478" y="88722"/>
                  </a:lnTo>
                  <a:lnTo>
                    <a:pt x="73621" y="85420"/>
                  </a:lnTo>
                  <a:lnTo>
                    <a:pt x="69202" y="78308"/>
                  </a:lnTo>
                  <a:close/>
                </a:path>
                <a:path w="76835" h="97790">
                  <a:moveTo>
                    <a:pt x="64419" y="8851"/>
                  </a:moveTo>
                  <a:lnTo>
                    <a:pt x="47815" y="8851"/>
                  </a:lnTo>
                  <a:lnTo>
                    <a:pt x="54317" y="11607"/>
                  </a:lnTo>
                  <a:lnTo>
                    <a:pt x="63919" y="22593"/>
                  </a:lnTo>
                  <a:lnTo>
                    <a:pt x="66319" y="29425"/>
                  </a:lnTo>
                  <a:lnTo>
                    <a:pt x="66319" y="40195"/>
                  </a:lnTo>
                  <a:lnTo>
                    <a:pt x="76669" y="40195"/>
                  </a:lnTo>
                  <a:lnTo>
                    <a:pt x="76050" y="31446"/>
                  </a:lnTo>
                  <a:lnTo>
                    <a:pt x="74194" y="23696"/>
                  </a:lnTo>
                  <a:lnTo>
                    <a:pt x="71103" y="16859"/>
                  </a:lnTo>
                  <a:lnTo>
                    <a:pt x="66776" y="10934"/>
                  </a:lnTo>
                  <a:lnTo>
                    <a:pt x="64419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1" name="object 188">
              <a:extLst>
                <a:ext uri="{FF2B5EF4-FFF2-40B4-BE49-F238E27FC236}">
                  <a16:creationId xmlns:a16="http://schemas.microsoft.com/office/drawing/2014/main" id="{5928A8FE-3F82-49CC-9C03-9C0B4291D222}"/>
                </a:ext>
              </a:extLst>
            </p:cNvPr>
            <p:cNvSpPr/>
            <p:nvPr/>
          </p:nvSpPr>
          <p:spPr>
            <a:xfrm>
              <a:off x="3586378" y="7153947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5" h="120015">
                  <a:moveTo>
                    <a:pt x="26644" y="32550"/>
                  </a:moveTo>
                  <a:lnTo>
                    <a:pt x="16154" y="32550"/>
                  </a:lnTo>
                  <a:lnTo>
                    <a:pt x="16154" y="102793"/>
                  </a:lnTo>
                  <a:lnTo>
                    <a:pt x="17994" y="109397"/>
                  </a:lnTo>
                  <a:lnTo>
                    <a:pt x="25323" y="117729"/>
                  </a:lnTo>
                  <a:lnTo>
                    <a:pt x="30467" y="119811"/>
                  </a:lnTo>
                  <a:lnTo>
                    <a:pt x="39573" y="119811"/>
                  </a:lnTo>
                  <a:lnTo>
                    <a:pt x="42049" y="119608"/>
                  </a:lnTo>
                  <a:lnTo>
                    <a:pt x="47028" y="118795"/>
                  </a:lnTo>
                  <a:lnTo>
                    <a:pt x="49136" y="118224"/>
                  </a:lnTo>
                  <a:lnTo>
                    <a:pt x="50876" y="117462"/>
                  </a:lnTo>
                  <a:lnTo>
                    <a:pt x="49506" y="110693"/>
                  </a:lnTo>
                  <a:lnTo>
                    <a:pt x="35179" y="110693"/>
                  </a:lnTo>
                  <a:lnTo>
                    <a:pt x="32208" y="109385"/>
                  </a:lnTo>
                  <a:lnTo>
                    <a:pt x="27762" y="104254"/>
                  </a:lnTo>
                  <a:lnTo>
                    <a:pt x="26644" y="99898"/>
                  </a:lnTo>
                  <a:lnTo>
                    <a:pt x="26644" y="32550"/>
                  </a:lnTo>
                  <a:close/>
                </a:path>
                <a:path w="51435" h="120015">
                  <a:moveTo>
                    <a:pt x="49314" y="109740"/>
                  </a:moveTo>
                  <a:lnTo>
                    <a:pt x="47231" y="110083"/>
                  </a:lnTo>
                  <a:lnTo>
                    <a:pt x="45402" y="110337"/>
                  </a:lnTo>
                  <a:lnTo>
                    <a:pt x="42202" y="110617"/>
                  </a:lnTo>
                  <a:lnTo>
                    <a:pt x="40563" y="110693"/>
                  </a:lnTo>
                  <a:lnTo>
                    <a:pt x="49506" y="110693"/>
                  </a:lnTo>
                  <a:lnTo>
                    <a:pt x="49314" y="109740"/>
                  </a:lnTo>
                  <a:close/>
                </a:path>
                <a:path w="51435" h="120015">
                  <a:moveTo>
                    <a:pt x="47307" y="24053"/>
                  </a:moveTo>
                  <a:lnTo>
                    <a:pt x="0" y="24053"/>
                  </a:lnTo>
                  <a:lnTo>
                    <a:pt x="0" y="32550"/>
                  </a:lnTo>
                  <a:lnTo>
                    <a:pt x="47307" y="32550"/>
                  </a:lnTo>
                  <a:lnTo>
                    <a:pt x="47307" y="24053"/>
                  </a:lnTo>
                  <a:close/>
                </a:path>
                <a:path w="51435" h="120015">
                  <a:moveTo>
                    <a:pt x="26644" y="0"/>
                  </a:moveTo>
                  <a:lnTo>
                    <a:pt x="16154" y="0"/>
                  </a:lnTo>
                  <a:lnTo>
                    <a:pt x="16154" y="24053"/>
                  </a:lnTo>
                  <a:lnTo>
                    <a:pt x="26644" y="24053"/>
                  </a:lnTo>
                  <a:lnTo>
                    <a:pt x="26644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2" name="object 189">
              <a:extLst>
                <a:ext uri="{FF2B5EF4-FFF2-40B4-BE49-F238E27FC236}">
                  <a16:creationId xmlns:a16="http://schemas.microsoft.com/office/drawing/2014/main" id="{02C85C27-5A07-416A-84BC-1CF32C883595}"/>
                </a:ext>
              </a:extLst>
            </p:cNvPr>
            <p:cNvSpPr/>
            <p:nvPr/>
          </p:nvSpPr>
          <p:spPr>
            <a:xfrm>
              <a:off x="3652088" y="7136498"/>
              <a:ext cx="38735" cy="135890"/>
            </a:xfrm>
            <a:custGeom>
              <a:avLst/>
              <a:gdLst/>
              <a:ahLst/>
              <a:cxnLst/>
              <a:rect l="l" t="t" r="r" b="b"/>
              <a:pathLst>
                <a:path w="38735" h="135890">
                  <a:moveTo>
                    <a:pt x="24485" y="0"/>
                  </a:moveTo>
                  <a:lnTo>
                    <a:pt x="14173" y="0"/>
                  </a:lnTo>
                  <a:lnTo>
                    <a:pt x="14173" y="14579"/>
                  </a:lnTo>
                  <a:lnTo>
                    <a:pt x="24485" y="14579"/>
                  </a:lnTo>
                  <a:lnTo>
                    <a:pt x="24485" y="0"/>
                  </a:lnTo>
                  <a:close/>
                </a:path>
                <a:path w="38735" h="135890">
                  <a:moveTo>
                    <a:pt x="24485" y="41490"/>
                  </a:moveTo>
                  <a:lnTo>
                    <a:pt x="0" y="41490"/>
                  </a:lnTo>
                  <a:lnTo>
                    <a:pt x="0" y="49225"/>
                  </a:lnTo>
                  <a:lnTo>
                    <a:pt x="14173" y="50355"/>
                  </a:lnTo>
                  <a:lnTo>
                    <a:pt x="14173" y="126657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46" y="135432"/>
                  </a:lnTo>
                  <a:lnTo>
                    <a:pt x="38646" y="127787"/>
                  </a:lnTo>
                  <a:lnTo>
                    <a:pt x="24485" y="126657"/>
                  </a:lnTo>
                  <a:lnTo>
                    <a:pt x="24485" y="4149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3" name="object 190">
              <a:extLst>
                <a:ext uri="{FF2B5EF4-FFF2-40B4-BE49-F238E27FC236}">
                  <a16:creationId xmlns:a16="http://schemas.microsoft.com/office/drawing/2014/main" id="{9F7DA0A4-6F1A-4775-BCAD-0BA1C8A48594}"/>
                </a:ext>
              </a:extLst>
            </p:cNvPr>
            <p:cNvSpPr/>
            <p:nvPr/>
          </p:nvSpPr>
          <p:spPr>
            <a:xfrm>
              <a:off x="3706266" y="7176249"/>
              <a:ext cx="100330" cy="95885"/>
            </a:xfrm>
            <a:custGeom>
              <a:avLst/>
              <a:gdLst/>
              <a:ahLst/>
              <a:cxnLst/>
              <a:rect l="l" t="t" r="r" b="b"/>
              <a:pathLst>
                <a:path w="100329" h="95884">
                  <a:moveTo>
                    <a:pt x="23368" y="1739"/>
                  </a:moveTo>
                  <a:lnTo>
                    <a:pt x="0" y="1739"/>
                  </a:lnTo>
                  <a:lnTo>
                    <a:pt x="0" y="9461"/>
                  </a:lnTo>
                  <a:lnTo>
                    <a:pt x="14160" y="10591"/>
                  </a:lnTo>
                  <a:lnTo>
                    <a:pt x="14160" y="86906"/>
                  </a:lnTo>
                  <a:lnTo>
                    <a:pt x="0" y="88036"/>
                  </a:lnTo>
                  <a:lnTo>
                    <a:pt x="0" y="95681"/>
                  </a:lnTo>
                  <a:lnTo>
                    <a:pt x="38722" y="95681"/>
                  </a:lnTo>
                  <a:lnTo>
                    <a:pt x="38722" y="88036"/>
                  </a:lnTo>
                  <a:lnTo>
                    <a:pt x="24587" y="86906"/>
                  </a:lnTo>
                  <a:lnTo>
                    <a:pt x="24587" y="30124"/>
                  </a:lnTo>
                  <a:lnTo>
                    <a:pt x="26593" y="23761"/>
                  </a:lnTo>
                  <a:lnTo>
                    <a:pt x="29908" y="18656"/>
                  </a:lnTo>
                  <a:lnTo>
                    <a:pt x="30516" y="18148"/>
                  </a:lnTo>
                  <a:lnTo>
                    <a:pt x="24307" y="18148"/>
                  </a:lnTo>
                  <a:lnTo>
                    <a:pt x="23368" y="1739"/>
                  </a:lnTo>
                  <a:close/>
                </a:path>
                <a:path w="100329" h="95884">
                  <a:moveTo>
                    <a:pt x="77695" y="9029"/>
                  </a:moveTo>
                  <a:lnTo>
                    <a:pt x="59753" y="9029"/>
                  </a:lnTo>
                  <a:lnTo>
                    <a:pt x="65481" y="11264"/>
                  </a:lnTo>
                  <a:lnTo>
                    <a:pt x="73520" y="20167"/>
                  </a:lnTo>
                  <a:lnTo>
                    <a:pt x="75526" y="27787"/>
                  </a:lnTo>
                  <a:lnTo>
                    <a:pt x="75526" y="86906"/>
                  </a:lnTo>
                  <a:lnTo>
                    <a:pt x="61391" y="88036"/>
                  </a:lnTo>
                  <a:lnTo>
                    <a:pt x="61391" y="95681"/>
                  </a:lnTo>
                  <a:lnTo>
                    <a:pt x="100114" y="95681"/>
                  </a:lnTo>
                  <a:lnTo>
                    <a:pt x="100114" y="88036"/>
                  </a:lnTo>
                  <a:lnTo>
                    <a:pt x="85953" y="86906"/>
                  </a:lnTo>
                  <a:lnTo>
                    <a:pt x="85953" y="38468"/>
                  </a:lnTo>
                  <a:lnTo>
                    <a:pt x="85455" y="29224"/>
                  </a:lnTo>
                  <a:lnTo>
                    <a:pt x="83959" y="21288"/>
                  </a:lnTo>
                  <a:lnTo>
                    <a:pt x="81463" y="14661"/>
                  </a:lnTo>
                  <a:lnTo>
                    <a:pt x="77965" y="9347"/>
                  </a:lnTo>
                  <a:lnTo>
                    <a:pt x="77695" y="9029"/>
                  </a:lnTo>
                  <a:close/>
                </a:path>
                <a:path w="100329" h="95884">
                  <a:moveTo>
                    <a:pt x="64884" y="0"/>
                  </a:moveTo>
                  <a:lnTo>
                    <a:pt x="47701" y="0"/>
                  </a:lnTo>
                  <a:lnTo>
                    <a:pt x="41643" y="1574"/>
                  </a:lnTo>
                  <a:lnTo>
                    <a:pt x="31407" y="7886"/>
                  </a:lnTo>
                  <a:lnTo>
                    <a:pt x="27330" y="12357"/>
                  </a:lnTo>
                  <a:lnTo>
                    <a:pt x="24307" y="18148"/>
                  </a:lnTo>
                  <a:lnTo>
                    <a:pt x="30516" y="18148"/>
                  </a:lnTo>
                  <a:lnTo>
                    <a:pt x="39116" y="10960"/>
                  </a:lnTo>
                  <a:lnTo>
                    <a:pt x="45072" y="9029"/>
                  </a:lnTo>
                  <a:lnTo>
                    <a:pt x="77695" y="9029"/>
                  </a:lnTo>
                  <a:lnTo>
                    <a:pt x="72656" y="3111"/>
                  </a:lnTo>
                  <a:lnTo>
                    <a:pt x="64884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4" name="object 191">
              <a:extLst>
                <a:ext uri="{FF2B5EF4-FFF2-40B4-BE49-F238E27FC236}">
                  <a16:creationId xmlns:a16="http://schemas.microsoft.com/office/drawing/2014/main" id="{F20A943A-1D74-4373-B98C-C5A195ACDAA0}"/>
                </a:ext>
              </a:extLst>
            </p:cNvPr>
            <p:cNvSpPr/>
            <p:nvPr/>
          </p:nvSpPr>
          <p:spPr>
            <a:xfrm>
              <a:off x="3822255" y="7176261"/>
              <a:ext cx="76200" cy="133985"/>
            </a:xfrm>
            <a:custGeom>
              <a:avLst/>
              <a:gdLst/>
              <a:ahLst/>
              <a:cxnLst/>
              <a:rect l="l" t="t" r="r" b="b"/>
              <a:pathLst>
                <a:path w="76200" h="133984">
                  <a:moveTo>
                    <a:pt x="13360" y="118681"/>
                  </a:moveTo>
                  <a:lnTo>
                    <a:pt x="33959" y="133604"/>
                  </a:lnTo>
                  <a:lnTo>
                    <a:pt x="38468" y="133604"/>
                  </a:lnTo>
                  <a:lnTo>
                    <a:pt x="46751" y="132948"/>
                  </a:lnTo>
                  <a:lnTo>
                    <a:pt x="54071" y="130981"/>
                  </a:lnTo>
                  <a:lnTo>
                    <a:pt x="60422" y="127699"/>
                  </a:lnTo>
                  <a:lnTo>
                    <a:pt x="64373" y="124320"/>
                  </a:lnTo>
                  <a:lnTo>
                    <a:pt x="33705" y="124320"/>
                  </a:lnTo>
                  <a:lnTo>
                    <a:pt x="29362" y="123825"/>
                  </a:lnTo>
                  <a:lnTo>
                    <a:pt x="21081" y="121869"/>
                  </a:lnTo>
                  <a:lnTo>
                    <a:pt x="17132" y="120472"/>
                  </a:lnTo>
                  <a:lnTo>
                    <a:pt x="13360" y="118681"/>
                  </a:lnTo>
                  <a:close/>
                </a:path>
                <a:path w="76200" h="133984">
                  <a:moveTo>
                    <a:pt x="75628" y="82562"/>
                  </a:moveTo>
                  <a:lnTo>
                    <a:pt x="65201" y="82562"/>
                  </a:lnTo>
                  <a:lnTo>
                    <a:pt x="65201" y="103835"/>
                  </a:lnTo>
                  <a:lnTo>
                    <a:pt x="62953" y="111150"/>
                  </a:lnTo>
                  <a:lnTo>
                    <a:pt x="53924" y="121691"/>
                  </a:lnTo>
                  <a:lnTo>
                    <a:pt x="47193" y="124320"/>
                  </a:lnTo>
                  <a:lnTo>
                    <a:pt x="64373" y="124320"/>
                  </a:lnTo>
                  <a:lnTo>
                    <a:pt x="75503" y="96202"/>
                  </a:lnTo>
                  <a:lnTo>
                    <a:pt x="75628" y="82562"/>
                  </a:lnTo>
                  <a:close/>
                </a:path>
                <a:path w="76200" h="133984">
                  <a:moveTo>
                    <a:pt x="42862" y="0"/>
                  </a:moveTo>
                  <a:lnTo>
                    <a:pt x="36207" y="0"/>
                  </a:lnTo>
                  <a:lnTo>
                    <a:pt x="28158" y="843"/>
                  </a:lnTo>
                  <a:lnTo>
                    <a:pt x="2400" y="29241"/>
                  </a:lnTo>
                  <a:lnTo>
                    <a:pt x="0" y="49479"/>
                  </a:lnTo>
                  <a:lnTo>
                    <a:pt x="0" y="51308"/>
                  </a:lnTo>
                  <a:lnTo>
                    <a:pt x="14791" y="90420"/>
                  </a:lnTo>
                  <a:lnTo>
                    <a:pt x="36042" y="97497"/>
                  </a:lnTo>
                  <a:lnTo>
                    <a:pt x="42557" y="97497"/>
                  </a:lnTo>
                  <a:lnTo>
                    <a:pt x="48259" y="96202"/>
                  </a:lnTo>
                  <a:lnTo>
                    <a:pt x="57988" y="91059"/>
                  </a:lnTo>
                  <a:lnTo>
                    <a:pt x="60801" y="88468"/>
                  </a:lnTo>
                  <a:lnTo>
                    <a:pt x="28790" y="88468"/>
                  </a:lnTo>
                  <a:lnTo>
                    <a:pt x="21920" y="85090"/>
                  </a:lnTo>
                  <a:lnTo>
                    <a:pt x="10413" y="51308"/>
                  </a:lnTo>
                  <a:lnTo>
                    <a:pt x="10413" y="49479"/>
                  </a:lnTo>
                  <a:lnTo>
                    <a:pt x="22072" y="12788"/>
                  </a:lnTo>
                  <a:lnTo>
                    <a:pt x="28968" y="9029"/>
                  </a:lnTo>
                  <a:lnTo>
                    <a:pt x="60102" y="9029"/>
                  </a:lnTo>
                  <a:lnTo>
                    <a:pt x="58407" y="7302"/>
                  </a:lnTo>
                  <a:lnTo>
                    <a:pt x="48640" y="1460"/>
                  </a:lnTo>
                  <a:lnTo>
                    <a:pt x="42862" y="0"/>
                  </a:lnTo>
                  <a:close/>
                </a:path>
                <a:path w="76200" h="133984">
                  <a:moveTo>
                    <a:pt x="60102" y="9029"/>
                  </a:moveTo>
                  <a:lnTo>
                    <a:pt x="45161" y="9029"/>
                  </a:lnTo>
                  <a:lnTo>
                    <a:pt x="50876" y="10756"/>
                  </a:lnTo>
                  <a:lnTo>
                    <a:pt x="59550" y="17640"/>
                  </a:lnTo>
                  <a:lnTo>
                    <a:pt x="62877" y="22110"/>
                  </a:lnTo>
                  <a:lnTo>
                    <a:pt x="65201" y="27609"/>
                  </a:lnTo>
                  <a:lnTo>
                    <a:pt x="65201" y="71183"/>
                  </a:lnTo>
                  <a:lnTo>
                    <a:pt x="62776" y="76568"/>
                  </a:lnTo>
                  <a:lnTo>
                    <a:pt x="59308" y="80797"/>
                  </a:lnTo>
                  <a:lnTo>
                    <a:pt x="50355" y="86931"/>
                  </a:lnTo>
                  <a:lnTo>
                    <a:pt x="44716" y="88468"/>
                  </a:lnTo>
                  <a:lnTo>
                    <a:pt x="60801" y="88468"/>
                  </a:lnTo>
                  <a:lnTo>
                    <a:pt x="62001" y="87363"/>
                  </a:lnTo>
                  <a:lnTo>
                    <a:pt x="65201" y="82562"/>
                  </a:lnTo>
                  <a:lnTo>
                    <a:pt x="75628" y="82562"/>
                  </a:lnTo>
                  <a:lnTo>
                    <a:pt x="75628" y="16751"/>
                  </a:lnTo>
                  <a:lnTo>
                    <a:pt x="65633" y="16751"/>
                  </a:lnTo>
                  <a:lnTo>
                    <a:pt x="62458" y="11430"/>
                  </a:lnTo>
                  <a:lnTo>
                    <a:pt x="60102" y="9029"/>
                  </a:lnTo>
                  <a:close/>
                </a:path>
                <a:path w="76200" h="133984">
                  <a:moveTo>
                    <a:pt x="75628" y="1739"/>
                  </a:moveTo>
                  <a:lnTo>
                    <a:pt x="66840" y="1739"/>
                  </a:lnTo>
                  <a:lnTo>
                    <a:pt x="65633" y="16751"/>
                  </a:lnTo>
                  <a:lnTo>
                    <a:pt x="75628" y="16751"/>
                  </a:lnTo>
                  <a:lnTo>
                    <a:pt x="75628" y="173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5" name="object 192">
              <a:extLst>
                <a:ext uri="{FF2B5EF4-FFF2-40B4-BE49-F238E27FC236}">
                  <a16:creationId xmlns:a16="http://schemas.microsoft.com/office/drawing/2014/main" id="{7E6C4529-C7FC-42F8-9CFD-57495DB93DBA}"/>
                </a:ext>
              </a:extLst>
            </p:cNvPr>
            <p:cNvSpPr/>
            <p:nvPr/>
          </p:nvSpPr>
          <p:spPr>
            <a:xfrm>
              <a:off x="3918965" y="7136498"/>
              <a:ext cx="40005" cy="44450"/>
            </a:xfrm>
            <a:custGeom>
              <a:avLst/>
              <a:gdLst/>
              <a:ahLst/>
              <a:cxnLst/>
              <a:rect l="l" t="t" r="r" b="b"/>
              <a:pathLst>
                <a:path w="40004" h="44450">
                  <a:moveTo>
                    <a:pt x="39509" y="0"/>
                  </a:moveTo>
                  <a:lnTo>
                    <a:pt x="29171" y="0"/>
                  </a:lnTo>
                  <a:lnTo>
                    <a:pt x="29085" y="20637"/>
                  </a:lnTo>
                  <a:lnTo>
                    <a:pt x="28524" y="24282"/>
                  </a:lnTo>
                  <a:lnTo>
                    <a:pt x="25920" y="31800"/>
                  </a:lnTo>
                  <a:lnTo>
                    <a:pt x="23901" y="35560"/>
                  </a:lnTo>
                  <a:lnTo>
                    <a:pt x="21183" y="39319"/>
                  </a:lnTo>
                  <a:lnTo>
                    <a:pt x="27355" y="43840"/>
                  </a:lnTo>
                  <a:lnTo>
                    <a:pt x="31102" y="40360"/>
                  </a:lnTo>
                  <a:lnTo>
                    <a:pt x="34074" y="36093"/>
                  </a:lnTo>
                  <a:lnTo>
                    <a:pt x="38417" y="25895"/>
                  </a:lnTo>
                  <a:lnTo>
                    <a:pt x="39509" y="20637"/>
                  </a:lnTo>
                  <a:lnTo>
                    <a:pt x="39509" y="0"/>
                  </a:lnTo>
                  <a:close/>
                </a:path>
                <a:path w="40004" h="44450">
                  <a:moveTo>
                    <a:pt x="18326" y="0"/>
                  </a:moveTo>
                  <a:lnTo>
                    <a:pt x="7988" y="0"/>
                  </a:lnTo>
                  <a:lnTo>
                    <a:pt x="7902" y="20637"/>
                  </a:lnTo>
                  <a:lnTo>
                    <a:pt x="7340" y="24282"/>
                  </a:lnTo>
                  <a:lnTo>
                    <a:pt x="4737" y="31800"/>
                  </a:lnTo>
                  <a:lnTo>
                    <a:pt x="2730" y="35560"/>
                  </a:lnTo>
                  <a:lnTo>
                    <a:pt x="0" y="39319"/>
                  </a:lnTo>
                  <a:lnTo>
                    <a:pt x="6172" y="43840"/>
                  </a:lnTo>
                  <a:lnTo>
                    <a:pt x="9918" y="40360"/>
                  </a:lnTo>
                  <a:lnTo>
                    <a:pt x="12890" y="36093"/>
                  </a:lnTo>
                  <a:lnTo>
                    <a:pt x="17233" y="25895"/>
                  </a:lnTo>
                  <a:lnTo>
                    <a:pt x="18326" y="20637"/>
                  </a:lnTo>
                  <a:lnTo>
                    <a:pt x="18326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6" name="object 193">
              <a:extLst>
                <a:ext uri="{FF2B5EF4-FFF2-40B4-BE49-F238E27FC236}">
                  <a16:creationId xmlns:a16="http://schemas.microsoft.com/office/drawing/2014/main" id="{263B1A09-D4E7-4F66-A4DB-EFE308B07ADE}"/>
                </a:ext>
              </a:extLst>
            </p:cNvPr>
            <p:cNvSpPr/>
            <p:nvPr/>
          </p:nvSpPr>
          <p:spPr>
            <a:xfrm>
              <a:off x="1091004" y="7403198"/>
              <a:ext cx="255347" cy="137261"/>
            </a:xfrm>
            <a:prstGeom prst="rect">
              <a:avLst/>
            </a:prstGeom>
            <a:blipFill>
              <a:blip r:embed="rId3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7" name="object 194">
              <a:extLst>
                <a:ext uri="{FF2B5EF4-FFF2-40B4-BE49-F238E27FC236}">
                  <a16:creationId xmlns:a16="http://schemas.microsoft.com/office/drawing/2014/main" id="{02FDF30E-CE77-49B7-945A-95E1B048BF48}"/>
                </a:ext>
              </a:extLst>
            </p:cNvPr>
            <p:cNvSpPr/>
            <p:nvPr/>
          </p:nvSpPr>
          <p:spPr>
            <a:xfrm>
              <a:off x="1407464" y="7403198"/>
              <a:ext cx="479653" cy="137261"/>
            </a:xfrm>
            <a:prstGeom prst="rect">
              <a:avLst/>
            </a:prstGeom>
            <a:blipFill>
              <a:blip r:embed="rId3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8" name="object 195">
              <a:extLst>
                <a:ext uri="{FF2B5EF4-FFF2-40B4-BE49-F238E27FC236}">
                  <a16:creationId xmlns:a16="http://schemas.microsoft.com/office/drawing/2014/main" id="{799DCDD3-A5F3-4720-99EC-83029C8880A9}"/>
                </a:ext>
              </a:extLst>
            </p:cNvPr>
            <p:cNvSpPr/>
            <p:nvPr/>
          </p:nvSpPr>
          <p:spPr>
            <a:xfrm>
              <a:off x="1944509" y="7442961"/>
              <a:ext cx="446417" cy="97497"/>
            </a:xfrm>
            <a:prstGeom prst="rect">
              <a:avLst/>
            </a:prstGeom>
            <a:blipFill>
              <a:blip r:embed="rId3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9" name="object 196">
              <a:extLst>
                <a:ext uri="{FF2B5EF4-FFF2-40B4-BE49-F238E27FC236}">
                  <a16:creationId xmlns:a16="http://schemas.microsoft.com/office/drawing/2014/main" id="{190A5836-0F32-473D-9179-B66C3FEE1021}"/>
                </a:ext>
              </a:extLst>
            </p:cNvPr>
            <p:cNvSpPr/>
            <p:nvPr/>
          </p:nvSpPr>
          <p:spPr>
            <a:xfrm>
              <a:off x="2413660" y="7524394"/>
              <a:ext cx="12065" cy="14604"/>
            </a:xfrm>
            <a:custGeom>
              <a:avLst/>
              <a:gdLst/>
              <a:ahLst/>
              <a:cxnLst/>
              <a:rect l="l" t="t" r="r" b="b"/>
              <a:pathLst>
                <a:path w="12064" h="14604">
                  <a:moveTo>
                    <a:pt x="11887" y="14236"/>
                  </a:moveTo>
                  <a:lnTo>
                    <a:pt x="0" y="14236"/>
                  </a:lnTo>
                  <a:lnTo>
                    <a:pt x="0" y="0"/>
                  </a:lnTo>
                  <a:lnTo>
                    <a:pt x="11887" y="0"/>
                  </a:lnTo>
                  <a:lnTo>
                    <a:pt x="11887" y="14236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0" name="object 197">
              <a:extLst>
                <a:ext uri="{FF2B5EF4-FFF2-40B4-BE49-F238E27FC236}">
                  <a16:creationId xmlns:a16="http://schemas.microsoft.com/office/drawing/2014/main" id="{C8E2797A-3B7C-4B37-84DB-BF2A57235FFA}"/>
                </a:ext>
              </a:extLst>
            </p:cNvPr>
            <p:cNvSpPr/>
            <p:nvPr/>
          </p:nvSpPr>
          <p:spPr>
            <a:xfrm>
              <a:off x="2490939" y="7403198"/>
              <a:ext cx="1362659" cy="171538"/>
            </a:xfrm>
            <a:prstGeom prst="rect">
              <a:avLst/>
            </a:prstGeom>
            <a:blipFill>
              <a:blip r:embed="rId3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1" name="object 198">
              <a:extLst>
                <a:ext uri="{FF2B5EF4-FFF2-40B4-BE49-F238E27FC236}">
                  <a16:creationId xmlns:a16="http://schemas.microsoft.com/office/drawing/2014/main" id="{8971EF6A-E90E-455D-8A8A-50639F429BA5}"/>
                </a:ext>
              </a:extLst>
            </p:cNvPr>
            <p:cNvSpPr/>
            <p:nvPr/>
          </p:nvSpPr>
          <p:spPr>
            <a:xfrm>
              <a:off x="3867568" y="7531569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5" h="7620">
                  <a:moveTo>
                    <a:pt x="0" y="7619"/>
                  </a:moveTo>
                  <a:lnTo>
                    <a:pt x="38646" y="7619"/>
                  </a:lnTo>
                  <a:lnTo>
                    <a:pt x="38646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2" name="object 199">
              <a:extLst>
                <a:ext uri="{FF2B5EF4-FFF2-40B4-BE49-F238E27FC236}">
                  <a16:creationId xmlns:a16="http://schemas.microsoft.com/office/drawing/2014/main" id="{E004BFD2-745E-48A9-8633-8BDA5E48D775}"/>
                </a:ext>
              </a:extLst>
            </p:cNvPr>
            <p:cNvSpPr/>
            <p:nvPr/>
          </p:nvSpPr>
          <p:spPr>
            <a:xfrm>
              <a:off x="3868205" y="7530300"/>
              <a:ext cx="37465" cy="1270"/>
            </a:xfrm>
            <a:custGeom>
              <a:avLst/>
              <a:gdLst/>
              <a:ahLst/>
              <a:cxnLst/>
              <a:rect l="l" t="t" r="r" b="b"/>
              <a:pathLst>
                <a:path w="37464" h="1270">
                  <a:moveTo>
                    <a:pt x="0" y="1269"/>
                  </a:moveTo>
                  <a:lnTo>
                    <a:pt x="37373" y="1269"/>
                  </a:lnTo>
                  <a:lnTo>
                    <a:pt x="37373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3" name="object 200">
              <a:extLst>
                <a:ext uri="{FF2B5EF4-FFF2-40B4-BE49-F238E27FC236}">
                  <a16:creationId xmlns:a16="http://schemas.microsoft.com/office/drawing/2014/main" id="{C41D8265-7B8F-4AF5-89D6-FB54B8E937AF}"/>
                </a:ext>
              </a:extLst>
            </p:cNvPr>
            <p:cNvSpPr/>
            <p:nvPr/>
          </p:nvSpPr>
          <p:spPr>
            <a:xfrm>
              <a:off x="3886892" y="7412190"/>
              <a:ext cx="0" cy="118110"/>
            </a:xfrm>
            <a:custGeom>
              <a:avLst/>
              <a:gdLst/>
              <a:ahLst/>
              <a:cxnLst/>
              <a:rect l="l" t="t" r="r" b="b"/>
              <a:pathLst>
                <a:path h="118109">
                  <a:moveTo>
                    <a:pt x="0" y="0"/>
                  </a:moveTo>
                  <a:lnTo>
                    <a:pt x="0" y="118110"/>
                  </a:lnTo>
                </a:path>
              </a:pathLst>
            </a:custGeom>
            <a:ln w="10325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4" name="object 201">
              <a:extLst>
                <a:ext uri="{FF2B5EF4-FFF2-40B4-BE49-F238E27FC236}">
                  <a16:creationId xmlns:a16="http://schemas.microsoft.com/office/drawing/2014/main" id="{357B3BDF-A917-4D77-A129-9650B1EA374E}"/>
                </a:ext>
              </a:extLst>
            </p:cNvPr>
            <p:cNvSpPr/>
            <p:nvPr/>
          </p:nvSpPr>
          <p:spPr>
            <a:xfrm>
              <a:off x="3875524" y="7410919"/>
              <a:ext cx="17145" cy="1270"/>
            </a:xfrm>
            <a:custGeom>
              <a:avLst/>
              <a:gdLst/>
              <a:ahLst/>
              <a:cxnLst/>
              <a:rect l="l" t="t" r="r" b="b"/>
              <a:pathLst>
                <a:path w="17145" h="1270">
                  <a:moveTo>
                    <a:pt x="0" y="1269"/>
                  </a:moveTo>
                  <a:lnTo>
                    <a:pt x="16530" y="1269"/>
                  </a:lnTo>
                  <a:lnTo>
                    <a:pt x="16530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5" name="object 202">
              <a:extLst>
                <a:ext uri="{FF2B5EF4-FFF2-40B4-BE49-F238E27FC236}">
                  <a16:creationId xmlns:a16="http://schemas.microsoft.com/office/drawing/2014/main" id="{63C37851-8D8F-465A-93E1-7F27A11E1E0D}"/>
                </a:ext>
              </a:extLst>
            </p:cNvPr>
            <p:cNvSpPr/>
            <p:nvPr/>
          </p:nvSpPr>
          <p:spPr>
            <a:xfrm>
              <a:off x="3867568" y="7403300"/>
              <a:ext cx="24765" cy="7620"/>
            </a:xfrm>
            <a:custGeom>
              <a:avLst/>
              <a:gdLst/>
              <a:ahLst/>
              <a:cxnLst/>
              <a:rect l="l" t="t" r="r" b="b"/>
              <a:pathLst>
                <a:path w="24764" h="7620">
                  <a:moveTo>
                    <a:pt x="0" y="7619"/>
                  </a:moveTo>
                  <a:lnTo>
                    <a:pt x="24485" y="7619"/>
                  </a:lnTo>
                  <a:lnTo>
                    <a:pt x="24485" y="0"/>
                  </a:lnTo>
                  <a:lnTo>
                    <a:pt x="0" y="0"/>
                  </a:lnTo>
                  <a:lnTo>
                    <a:pt x="0" y="761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6" name="object 203">
              <a:extLst>
                <a:ext uri="{FF2B5EF4-FFF2-40B4-BE49-F238E27FC236}">
                  <a16:creationId xmlns:a16="http://schemas.microsoft.com/office/drawing/2014/main" id="{E98A70BF-1286-4F08-8818-A4259997894C}"/>
                </a:ext>
              </a:extLst>
            </p:cNvPr>
            <p:cNvSpPr/>
            <p:nvPr/>
          </p:nvSpPr>
          <p:spPr>
            <a:xfrm>
              <a:off x="3923055" y="7442961"/>
              <a:ext cx="76835" cy="97790"/>
            </a:xfrm>
            <a:custGeom>
              <a:avLst/>
              <a:gdLst/>
              <a:ahLst/>
              <a:cxnLst/>
              <a:rect l="l" t="t" r="r" b="b"/>
              <a:pathLst>
                <a:path w="76835" h="97790">
                  <a:moveTo>
                    <a:pt x="39585" y="0"/>
                  </a:moveTo>
                  <a:lnTo>
                    <a:pt x="6515" y="20351"/>
                  </a:lnTo>
                  <a:lnTo>
                    <a:pt x="0" y="46697"/>
                  </a:lnTo>
                  <a:lnTo>
                    <a:pt x="0" y="51473"/>
                  </a:lnTo>
                  <a:lnTo>
                    <a:pt x="17820" y="90193"/>
                  </a:lnTo>
                  <a:lnTo>
                    <a:pt x="40970" y="97485"/>
                  </a:lnTo>
                  <a:lnTo>
                    <a:pt x="48437" y="97485"/>
                  </a:lnTo>
                  <a:lnTo>
                    <a:pt x="54864" y="96405"/>
                  </a:lnTo>
                  <a:lnTo>
                    <a:pt x="65633" y="92062"/>
                  </a:lnTo>
                  <a:lnTo>
                    <a:pt x="70065" y="89128"/>
                  </a:lnTo>
                  <a:lnTo>
                    <a:pt x="70455" y="88722"/>
                  </a:lnTo>
                  <a:lnTo>
                    <a:pt x="31826" y="88722"/>
                  </a:lnTo>
                  <a:lnTo>
                    <a:pt x="24434" y="85153"/>
                  </a:lnTo>
                  <a:lnTo>
                    <a:pt x="10312" y="51473"/>
                  </a:lnTo>
                  <a:lnTo>
                    <a:pt x="10312" y="48958"/>
                  </a:lnTo>
                  <a:lnTo>
                    <a:pt x="76644" y="48958"/>
                  </a:lnTo>
                  <a:lnTo>
                    <a:pt x="76644" y="40195"/>
                  </a:lnTo>
                  <a:lnTo>
                    <a:pt x="11277" y="40195"/>
                  </a:lnTo>
                  <a:lnTo>
                    <a:pt x="11112" y="39763"/>
                  </a:lnTo>
                  <a:lnTo>
                    <a:pt x="11976" y="30899"/>
                  </a:lnTo>
                  <a:lnTo>
                    <a:pt x="15024" y="23533"/>
                  </a:lnTo>
                  <a:lnTo>
                    <a:pt x="25501" y="11785"/>
                  </a:lnTo>
                  <a:lnTo>
                    <a:pt x="31940" y="8851"/>
                  </a:lnTo>
                  <a:lnTo>
                    <a:pt x="64394" y="8851"/>
                  </a:lnTo>
                  <a:lnTo>
                    <a:pt x="61338" y="6150"/>
                  </a:lnTo>
                  <a:lnTo>
                    <a:pt x="55006" y="2733"/>
                  </a:lnTo>
                  <a:lnTo>
                    <a:pt x="47755" y="683"/>
                  </a:lnTo>
                  <a:lnTo>
                    <a:pt x="39585" y="0"/>
                  </a:lnTo>
                  <a:close/>
                </a:path>
                <a:path w="76835" h="97790">
                  <a:moveTo>
                    <a:pt x="69176" y="78308"/>
                  </a:moveTo>
                  <a:lnTo>
                    <a:pt x="65951" y="81661"/>
                  </a:lnTo>
                  <a:lnTo>
                    <a:pt x="62039" y="84239"/>
                  </a:lnTo>
                  <a:lnTo>
                    <a:pt x="52882" y="87833"/>
                  </a:lnTo>
                  <a:lnTo>
                    <a:pt x="47396" y="88722"/>
                  </a:lnTo>
                  <a:lnTo>
                    <a:pt x="70455" y="88722"/>
                  </a:lnTo>
                  <a:lnTo>
                    <a:pt x="73621" y="85420"/>
                  </a:lnTo>
                  <a:lnTo>
                    <a:pt x="69176" y="78308"/>
                  </a:lnTo>
                  <a:close/>
                </a:path>
                <a:path w="76835" h="97790">
                  <a:moveTo>
                    <a:pt x="64394" y="8851"/>
                  </a:moveTo>
                  <a:lnTo>
                    <a:pt x="47790" y="8851"/>
                  </a:lnTo>
                  <a:lnTo>
                    <a:pt x="54317" y="11607"/>
                  </a:lnTo>
                  <a:lnTo>
                    <a:pt x="63919" y="22593"/>
                  </a:lnTo>
                  <a:lnTo>
                    <a:pt x="66319" y="29425"/>
                  </a:lnTo>
                  <a:lnTo>
                    <a:pt x="66319" y="40195"/>
                  </a:lnTo>
                  <a:lnTo>
                    <a:pt x="76644" y="40195"/>
                  </a:lnTo>
                  <a:lnTo>
                    <a:pt x="76025" y="31446"/>
                  </a:lnTo>
                  <a:lnTo>
                    <a:pt x="74169" y="23696"/>
                  </a:lnTo>
                  <a:lnTo>
                    <a:pt x="71077" y="16859"/>
                  </a:lnTo>
                  <a:lnTo>
                    <a:pt x="66751" y="10934"/>
                  </a:lnTo>
                  <a:lnTo>
                    <a:pt x="64394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7" name="object 204">
              <a:extLst>
                <a:ext uri="{FF2B5EF4-FFF2-40B4-BE49-F238E27FC236}">
                  <a16:creationId xmlns:a16="http://schemas.microsoft.com/office/drawing/2014/main" id="{0CEC4C57-4E80-426B-B514-5F7C350E3937}"/>
                </a:ext>
              </a:extLst>
            </p:cNvPr>
            <p:cNvSpPr/>
            <p:nvPr/>
          </p:nvSpPr>
          <p:spPr>
            <a:xfrm>
              <a:off x="1913064" y="4020362"/>
              <a:ext cx="471805" cy="542290"/>
            </a:xfrm>
            <a:custGeom>
              <a:avLst/>
              <a:gdLst/>
              <a:ahLst/>
              <a:cxnLst/>
              <a:rect l="l" t="t" r="r" b="b"/>
              <a:pathLst>
                <a:path w="471805" h="542289">
                  <a:moveTo>
                    <a:pt x="243713" y="0"/>
                  </a:moveTo>
                  <a:lnTo>
                    <a:pt x="0" y="0"/>
                  </a:lnTo>
                  <a:lnTo>
                    <a:pt x="0" y="65481"/>
                  </a:lnTo>
                  <a:lnTo>
                    <a:pt x="57670" y="76644"/>
                  </a:lnTo>
                  <a:lnTo>
                    <a:pt x="57670" y="465467"/>
                  </a:lnTo>
                  <a:lnTo>
                    <a:pt x="0" y="476618"/>
                  </a:lnTo>
                  <a:lnTo>
                    <a:pt x="0" y="541731"/>
                  </a:lnTo>
                  <a:lnTo>
                    <a:pt x="243713" y="541731"/>
                  </a:lnTo>
                  <a:lnTo>
                    <a:pt x="291197" y="537790"/>
                  </a:lnTo>
                  <a:lnTo>
                    <a:pt x="334308" y="525967"/>
                  </a:lnTo>
                  <a:lnTo>
                    <a:pt x="373047" y="506262"/>
                  </a:lnTo>
                  <a:lnTo>
                    <a:pt x="407416" y="478675"/>
                  </a:lnTo>
                  <a:lnTo>
                    <a:pt x="424302" y="458393"/>
                  </a:lnTo>
                  <a:lnTo>
                    <a:pt x="166319" y="458393"/>
                  </a:lnTo>
                  <a:lnTo>
                    <a:pt x="166319" y="83718"/>
                  </a:lnTo>
                  <a:lnTo>
                    <a:pt x="424233" y="83718"/>
                  </a:lnTo>
                  <a:lnTo>
                    <a:pt x="407416" y="63436"/>
                  </a:lnTo>
                  <a:lnTo>
                    <a:pt x="373047" y="35683"/>
                  </a:lnTo>
                  <a:lnTo>
                    <a:pt x="334308" y="15859"/>
                  </a:lnTo>
                  <a:lnTo>
                    <a:pt x="291197" y="3964"/>
                  </a:lnTo>
                  <a:lnTo>
                    <a:pt x="243713" y="0"/>
                  </a:lnTo>
                  <a:close/>
                </a:path>
                <a:path w="471805" h="542289">
                  <a:moveTo>
                    <a:pt x="424233" y="83718"/>
                  </a:moveTo>
                  <a:lnTo>
                    <a:pt x="238125" y="83718"/>
                  </a:lnTo>
                  <a:lnTo>
                    <a:pt x="265754" y="86182"/>
                  </a:lnTo>
                  <a:lnTo>
                    <a:pt x="290218" y="93576"/>
                  </a:lnTo>
                  <a:lnTo>
                    <a:pt x="329653" y="123151"/>
                  </a:lnTo>
                  <a:lnTo>
                    <a:pt x="354496" y="168455"/>
                  </a:lnTo>
                  <a:lnTo>
                    <a:pt x="362775" y="225475"/>
                  </a:lnTo>
                  <a:lnTo>
                    <a:pt x="362775" y="315887"/>
                  </a:lnTo>
                  <a:lnTo>
                    <a:pt x="354496" y="373465"/>
                  </a:lnTo>
                  <a:lnTo>
                    <a:pt x="329653" y="418947"/>
                  </a:lnTo>
                  <a:lnTo>
                    <a:pt x="290218" y="448533"/>
                  </a:lnTo>
                  <a:lnTo>
                    <a:pt x="238125" y="458393"/>
                  </a:lnTo>
                  <a:lnTo>
                    <a:pt x="424302" y="458393"/>
                  </a:lnTo>
                  <a:lnTo>
                    <a:pt x="435578" y="444849"/>
                  </a:lnTo>
                  <a:lnTo>
                    <a:pt x="455696" y="406444"/>
                  </a:lnTo>
                  <a:lnTo>
                    <a:pt x="467768" y="363457"/>
                  </a:lnTo>
                  <a:lnTo>
                    <a:pt x="471792" y="315887"/>
                  </a:lnTo>
                  <a:lnTo>
                    <a:pt x="471728" y="225475"/>
                  </a:lnTo>
                  <a:lnTo>
                    <a:pt x="467768" y="178795"/>
                  </a:lnTo>
                  <a:lnTo>
                    <a:pt x="455696" y="135853"/>
                  </a:lnTo>
                  <a:lnTo>
                    <a:pt x="435578" y="97400"/>
                  </a:lnTo>
                  <a:lnTo>
                    <a:pt x="424233" y="83718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8" name="object 205">
              <a:extLst>
                <a:ext uri="{FF2B5EF4-FFF2-40B4-BE49-F238E27FC236}">
                  <a16:creationId xmlns:a16="http://schemas.microsoft.com/office/drawing/2014/main" id="{C0587196-1CE8-4958-B09C-30BA6E344168}"/>
                </a:ext>
              </a:extLst>
            </p:cNvPr>
            <p:cNvSpPr/>
            <p:nvPr/>
          </p:nvSpPr>
          <p:spPr>
            <a:xfrm>
              <a:off x="2429497" y="4159516"/>
              <a:ext cx="444500" cy="410845"/>
            </a:xfrm>
            <a:custGeom>
              <a:avLst/>
              <a:gdLst/>
              <a:ahLst/>
              <a:cxnLst/>
              <a:rect l="l" t="t" r="r" b="b"/>
              <a:pathLst>
                <a:path w="444500" h="410845">
                  <a:moveTo>
                    <a:pt x="152920" y="0"/>
                  </a:moveTo>
                  <a:lnTo>
                    <a:pt x="0" y="0"/>
                  </a:lnTo>
                  <a:lnTo>
                    <a:pt x="0" y="65493"/>
                  </a:lnTo>
                  <a:lnTo>
                    <a:pt x="44284" y="76657"/>
                  </a:lnTo>
                  <a:lnTo>
                    <a:pt x="44326" y="243712"/>
                  </a:lnTo>
                  <a:lnTo>
                    <a:pt x="46539" y="283114"/>
                  </a:lnTo>
                  <a:lnTo>
                    <a:pt x="64580" y="346460"/>
                  </a:lnTo>
                  <a:lnTo>
                    <a:pt x="100134" y="387485"/>
                  </a:lnTo>
                  <a:lnTo>
                    <a:pt x="149993" y="407854"/>
                  </a:lnTo>
                  <a:lnTo>
                    <a:pt x="180085" y="410400"/>
                  </a:lnTo>
                  <a:lnTo>
                    <a:pt x="197816" y="409447"/>
                  </a:lnTo>
                  <a:lnTo>
                    <a:pt x="245008" y="395147"/>
                  </a:lnTo>
                  <a:lnTo>
                    <a:pt x="282577" y="364935"/>
                  </a:lnTo>
                  <a:lnTo>
                    <a:pt x="292823" y="351612"/>
                  </a:lnTo>
                  <a:lnTo>
                    <a:pt x="443890" y="351612"/>
                  </a:lnTo>
                  <a:lnTo>
                    <a:pt x="443890" y="337477"/>
                  </a:lnTo>
                  <a:lnTo>
                    <a:pt x="395147" y="326313"/>
                  </a:lnTo>
                  <a:lnTo>
                    <a:pt x="395147" y="325945"/>
                  </a:lnTo>
                  <a:lnTo>
                    <a:pt x="211340" y="325945"/>
                  </a:lnTo>
                  <a:lnTo>
                    <a:pt x="197727" y="324747"/>
                  </a:lnTo>
                  <a:lnTo>
                    <a:pt x="161193" y="295653"/>
                  </a:lnTo>
                  <a:lnTo>
                    <a:pt x="152920" y="243712"/>
                  </a:lnTo>
                  <a:lnTo>
                    <a:pt x="152920" y="0"/>
                  </a:lnTo>
                  <a:close/>
                </a:path>
                <a:path w="444500" h="410845">
                  <a:moveTo>
                    <a:pt x="443890" y="351612"/>
                  </a:moveTo>
                  <a:lnTo>
                    <a:pt x="292823" y="351612"/>
                  </a:lnTo>
                  <a:lnTo>
                    <a:pt x="299897" y="402589"/>
                  </a:lnTo>
                  <a:lnTo>
                    <a:pt x="443890" y="402589"/>
                  </a:lnTo>
                  <a:lnTo>
                    <a:pt x="443890" y="351612"/>
                  </a:lnTo>
                  <a:close/>
                </a:path>
                <a:path w="444500" h="410845">
                  <a:moveTo>
                    <a:pt x="395147" y="0"/>
                  </a:moveTo>
                  <a:lnTo>
                    <a:pt x="238874" y="0"/>
                  </a:lnTo>
                  <a:lnTo>
                    <a:pt x="238874" y="65493"/>
                  </a:lnTo>
                  <a:lnTo>
                    <a:pt x="286499" y="76657"/>
                  </a:lnTo>
                  <a:lnTo>
                    <a:pt x="286499" y="293573"/>
                  </a:lnTo>
                  <a:lnTo>
                    <a:pt x="255803" y="317563"/>
                  </a:lnTo>
                  <a:lnTo>
                    <a:pt x="211340" y="325945"/>
                  </a:lnTo>
                  <a:lnTo>
                    <a:pt x="395147" y="325945"/>
                  </a:lnTo>
                  <a:lnTo>
                    <a:pt x="395147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9" name="object 206">
              <a:extLst>
                <a:ext uri="{FF2B5EF4-FFF2-40B4-BE49-F238E27FC236}">
                  <a16:creationId xmlns:a16="http://schemas.microsoft.com/office/drawing/2014/main" id="{B088B5A8-B335-4B22-BA8D-B9CD2398C8C1}"/>
                </a:ext>
              </a:extLst>
            </p:cNvPr>
            <p:cNvSpPr/>
            <p:nvPr/>
          </p:nvSpPr>
          <p:spPr>
            <a:xfrm>
              <a:off x="2917659" y="4152074"/>
              <a:ext cx="353695" cy="418465"/>
            </a:xfrm>
            <a:custGeom>
              <a:avLst/>
              <a:gdLst/>
              <a:ahLst/>
              <a:cxnLst/>
              <a:rect l="l" t="t" r="r" b="b"/>
              <a:pathLst>
                <a:path w="353695" h="418464">
                  <a:moveTo>
                    <a:pt x="181571" y="0"/>
                  </a:moveTo>
                  <a:lnTo>
                    <a:pt x="142193" y="3467"/>
                  </a:lnTo>
                  <a:lnTo>
                    <a:pt x="76056" y="32300"/>
                  </a:lnTo>
                  <a:lnTo>
                    <a:pt x="27732" y="88669"/>
                  </a:lnTo>
                  <a:lnTo>
                    <a:pt x="12325" y="123621"/>
                  </a:lnTo>
                  <a:lnTo>
                    <a:pt x="3081" y="162526"/>
                  </a:lnTo>
                  <a:lnTo>
                    <a:pt x="0" y="205384"/>
                  </a:lnTo>
                  <a:lnTo>
                    <a:pt x="0" y="220268"/>
                  </a:lnTo>
                  <a:lnTo>
                    <a:pt x="3255" y="261360"/>
                  </a:lnTo>
                  <a:lnTo>
                    <a:pt x="13022" y="298681"/>
                  </a:lnTo>
                  <a:lnTo>
                    <a:pt x="52095" y="362026"/>
                  </a:lnTo>
                  <a:lnTo>
                    <a:pt x="112923" y="403888"/>
                  </a:lnTo>
                  <a:lnTo>
                    <a:pt x="149898" y="414354"/>
                  </a:lnTo>
                  <a:lnTo>
                    <a:pt x="191249" y="417842"/>
                  </a:lnTo>
                  <a:lnTo>
                    <a:pt x="215047" y="417004"/>
                  </a:lnTo>
                  <a:lnTo>
                    <a:pt x="259232" y="410304"/>
                  </a:lnTo>
                  <a:lnTo>
                    <a:pt x="298508" y="397352"/>
                  </a:lnTo>
                  <a:lnTo>
                    <a:pt x="344170" y="371322"/>
                  </a:lnTo>
                  <a:lnTo>
                    <a:pt x="328000" y="334492"/>
                  </a:lnTo>
                  <a:lnTo>
                    <a:pt x="202780" y="334492"/>
                  </a:lnTo>
                  <a:lnTo>
                    <a:pt x="183559" y="332887"/>
                  </a:lnTo>
                  <a:lnTo>
                    <a:pt x="138595" y="308825"/>
                  </a:lnTo>
                  <a:lnTo>
                    <a:pt x="114772" y="262355"/>
                  </a:lnTo>
                  <a:lnTo>
                    <a:pt x="111988" y="243331"/>
                  </a:lnTo>
                  <a:lnTo>
                    <a:pt x="112737" y="241109"/>
                  </a:lnTo>
                  <a:lnTo>
                    <a:pt x="353098" y="241109"/>
                  </a:lnTo>
                  <a:lnTo>
                    <a:pt x="353098" y="181940"/>
                  </a:lnTo>
                  <a:lnTo>
                    <a:pt x="352201" y="169290"/>
                  </a:lnTo>
                  <a:lnTo>
                    <a:pt x="113487" y="169290"/>
                  </a:lnTo>
                  <a:lnTo>
                    <a:pt x="112369" y="167436"/>
                  </a:lnTo>
                  <a:lnTo>
                    <a:pt x="126040" y="119223"/>
                  </a:lnTo>
                  <a:lnTo>
                    <a:pt x="154597" y="89482"/>
                  </a:lnTo>
                  <a:lnTo>
                    <a:pt x="181571" y="83718"/>
                  </a:lnTo>
                  <a:lnTo>
                    <a:pt x="331343" y="83718"/>
                  </a:lnTo>
                  <a:lnTo>
                    <a:pt x="327771" y="75835"/>
                  </a:lnTo>
                  <a:lnTo>
                    <a:pt x="308076" y="49110"/>
                  </a:lnTo>
                  <a:lnTo>
                    <a:pt x="283288" y="27624"/>
                  </a:lnTo>
                  <a:lnTo>
                    <a:pt x="253939" y="12277"/>
                  </a:lnTo>
                  <a:lnTo>
                    <a:pt x="220033" y="3069"/>
                  </a:lnTo>
                  <a:lnTo>
                    <a:pt x="181571" y="0"/>
                  </a:lnTo>
                  <a:close/>
                </a:path>
                <a:path w="353695" h="418464">
                  <a:moveTo>
                    <a:pt x="314769" y="304355"/>
                  </a:moveTo>
                  <a:lnTo>
                    <a:pt x="274871" y="323088"/>
                  </a:lnTo>
                  <a:lnTo>
                    <a:pt x="235800" y="332681"/>
                  </a:lnTo>
                  <a:lnTo>
                    <a:pt x="202780" y="334492"/>
                  </a:lnTo>
                  <a:lnTo>
                    <a:pt x="328000" y="334492"/>
                  </a:lnTo>
                  <a:lnTo>
                    <a:pt x="314769" y="304355"/>
                  </a:lnTo>
                  <a:close/>
                </a:path>
                <a:path w="353695" h="418464">
                  <a:moveTo>
                    <a:pt x="331343" y="83718"/>
                  </a:moveTo>
                  <a:lnTo>
                    <a:pt x="181571" y="83718"/>
                  </a:lnTo>
                  <a:lnTo>
                    <a:pt x="196909" y="85009"/>
                  </a:lnTo>
                  <a:lnTo>
                    <a:pt x="210177" y="88880"/>
                  </a:lnTo>
                  <a:lnTo>
                    <a:pt x="237581" y="115565"/>
                  </a:lnTo>
                  <a:lnTo>
                    <a:pt x="246684" y="159626"/>
                  </a:lnTo>
                  <a:lnTo>
                    <a:pt x="246684" y="169290"/>
                  </a:lnTo>
                  <a:lnTo>
                    <a:pt x="352201" y="169290"/>
                  </a:lnTo>
                  <a:lnTo>
                    <a:pt x="350283" y="142249"/>
                  </a:lnTo>
                  <a:lnTo>
                    <a:pt x="341841" y="106881"/>
                  </a:lnTo>
                  <a:lnTo>
                    <a:pt x="331343" y="83718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0" name="object 207">
              <a:extLst>
                <a:ext uri="{FF2B5EF4-FFF2-40B4-BE49-F238E27FC236}">
                  <a16:creationId xmlns:a16="http://schemas.microsoft.com/office/drawing/2014/main" id="{64794EDB-0628-4376-AD12-7816308B30FA}"/>
                </a:ext>
              </a:extLst>
            </p:cNvPr>
            <p:cNvSpPr/>
            <p:nvPr/>
          </p:nvSpPr>
          <p:spPr>
            <a:xfrm>
              <a:off x="3315030" y="4060926"/>
              <a:ext cx="250825" cy="509270"/>
            </a:xfrm>
            <a:custGeom>
              <a:avLst/>
              <a:gdLst/>
              <a:ahLst/>
              <a:cxnLst/>
              <a:rect l="l" t="t" r="r" b="b"/>
              <a:pathLst>
                <a:path w="250825" h="509270">
                  <a:moveTo>
                    <a:pt x="167436" y="174879"/>
                  </a:moveTo>
                  <a:lnTo>
                    <a:pt x="59169" y="174879"/>
                  </a:lnTo>
                  <a:lnTo>
                    <a:pt x="59169" y="380250"/>
                  </a:lnTo>
                  <a:lnTo>
                    <a:pt x="66749" y="438202"/>
                  </a:lnTo>
                  <a:lnTo>
                    <a:pt x="89484" y="478104"/>
                  </a:lnTo>
                  <a:lnTo>
                    <a:pt x="126277" y="501272"/>
                  </a:lnTo>
                  <a:lnTo>
                    <a:pt x="175996" y="508990"/>
                  </a:lnTo>
                  <a:lnTo>
                    <a:pt x="186229" y="508816"/>
                  </a:lnTo>
                  <a:lnTo>
                    <a:pt x="232638" y="502712"/>
                  </a:lnTo>
                  <a:lnTo>
                    <a:pt x="250774" y="497827"/>
                  </a:lnTo>
                  <a:lnTo>
                    <a:pt x="241962" y="423418"/>
                  </a:lnTo>
                  <a:lnTo>
                    <a:pt x="203161" y="423418"/>
                  </a:lnTo>
                  <a:lnTo>
                    <a:pt x="195391" y="422789"/>
                  </a:lnTo>
                  <a:lnTo>
                    <a:pt x="168041" y="390767"/>
                  </a:lnTo>
                  <a:lnTo>
                    <a:pt x="167457" y="380250"/>
                  </a:lnTo>
                  <a:lnTo>
                    <a:pt x="167436" y="174879"/>
                  </a:lnTo>
                  <a:close/>
                </a:path>
                <a:path w="250825" h="509270">
                  <a:moveTo>
                    <a:pt x="241477" y="419328"/>
                  </a:moveTo>
                  <a:lnTo>
                    <a:pt x="234530" y="420814"/>
                  </a:lnTo>
                  <a:lnTo>
                    <a:pt x="228269" y="421868"/>
                  </a:lnTo>
                  <a:lnTo>
                    <a:pt x="217106" y="423100"/>
                  </a:lnTo>
                  <a:lnTo>
                    <a:pt x="210591" y="423418"/>
                  </a:lnTo>
                  <a:lnTo>
                    <a:pt x="241962" y="423418"/>
                  </a:lnTo>
                  <a:lnTo>
                    <a:pt x="241477" y="419328"/>
                  </a:lnTo>
                  <a:close/>
                </a:path>
                <a:path w="250825" h="509270">
                  <a:moveTo>
                    <a:pt x="238125" y="98602"/>
                  </a:moveTo>
                  <a:lnTo>
                    <a:pt x="0" y="98602"/>
                  </a:lnTo>
                  <a:lnTo>
                    <a:pt x="0" y="174879"/>
                  </a:lnTo>
                  <a:lnTo>
                    <a:pt x="238125" y="174879"/>
                  </a:lnTo>
                  <a:lnTo>
                    <a:pt x="238125" y="98602"/>
                  </a:lnTo>
                  <a:close/>
                </a:path>
                <a:path w="250825" h="509270">
                  <a:moveTo>
                    <a:pt x="167436" y="0"/>
                  </a:moveTo>
                  <a:lnTo>
                    <a:pt x="59169" y="0"/>
                  </a:lnTo>
                  <a:lnTo>
                    <a:pt x="59169" y="98602"/>
                  </a:lnTo>
                  <a:lnTo>
                    <a:pt x="167436" y="98602"/>
                  </a:lnTo>
                  <a:lnTo>
                    <a:pt x="167436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1" name="object 208">
              <a:extLst>
                <a:ext uri="{FF2B5EF4-FFF2-40B4-BE49-F238E27FC236}">
                  <a16:creationId xmlns:a16="http://schemas.microsoft.com/office/drawing/2014/main" id="{54462615-CA74-4EF9-8F6B-4FB0F1542561}"/>
                </a:ext>
              </a:extLst>
            </p:cNvPr>
            <p:cNvSpPr/>
            <p:nvPr/>
          </p:nvSpPr>
          <p:spPr>
            <a:xfrm>
              <a:off x="3619017" y="4152823"/>
              <a:ext cx="330835" cy="417195"/>
            </a:xfrm>
            <a:custGeom>
              <a:avLst/>
              <a:gdLst/>
              <a:ahLst/>
              <a:cxnLst/>
              <a:rect l="l" t="t" r="r" b="b"/>
              <a:pathLst>
                <a:path w="330835" h="417195">
                  <a:moveTo>
                    <a:pt x="81483" y="274218"/>
                  </a:moveTo>
                  <a:lnTo>
                    <a:pt x="5575" y="274218"/>
                  </a:lnTo>
                  <a:lnTo>
                    <a:pt x="6692" y="364629"/>
                  </a:lnTo>
                  <a:lnTo>
                    <a:pt x="39019" y="387002"/>
                  </a:lnTo>
                  <a:lnTo>
                    <a:pt x="75717" y="403517"/>
                  </a:lnTo>
                  <a:lnTo>
                    <a:pt x="116503" y="413700"/>
                  </a:lnTo>
                  <a:lnTo>
                    <a:pt x="161099" y="417093"/>
                  </a:lnTo>
                  <a:lnTo>
                    <a:pt x="197389" y="414942"/>
                  </a:lnTo>
                  <a:lnTo>
                    <a:pt x="258877" y="397735"/>
                  </a:lnTo>
                  <a:lnTo>
                    <a:pt x="304502" y="364221"/>
                  </a:lnTo>
                  <a:lnTo>
                    <a:pt x="319318" y="342684"/>
                  </a:lnTo>
                  <a:lnTo>
                    <a:pt x="157759" y="342684"/>
                  </a:lnTo>
                  <a:lnTo>
                    <a:pt x="148736" y="342439"/>
                  </a:lnTo>
                  <a:lnTo>
                    <a:pt x="107808" y="333798"/>
                  </a:lnTo>
                  <a:lnTo>
                    <a:pt x="96367" y="326682"/>
                  </a:lnTo>
                  <a:lnTo>
                    <a:pt x="81483" y="274218"/>
                  </a:lnTo>
                  <a:close/>
                </a:path>
                <a:path w="330835" h="417195">
                  <a:moveTo>
                    <a:pt x="160362" y="0"/>
                  </a:moveTo>
                  <a:lnTo>
                    <a:pt x="92181" y="9163"/>
                  </a:lnTo>
                  <a:lnTo>
                    <a:pt x="41668" y="36652"/>
                  </a:lnTo>
                  <a:lnTo>
                    <a:pt x="10418" y="76790"/>
                  </a:lnTo>
                  <a:lnTo>
                    <a:pt x="0" y="123901"/>
                  </a:lnTo>
                  <a:lnTo>
                    <a:pt x="2266" y="147166"/>
                  </a:lnTo>
                  <a:lnTo>
                    <a:pt x="20402" y="185951"/>
                  </a:lnTo>
                  <a:lnTo>
                    <a:pt x="56588" y="214838"/>
                  </a:lnTo>
                  <a:lnTo>
                    <a:pt x="110262" y="236327"/>
                  </a:lnTo>
                  <a:lnTo>
                    <a:pt x="165221" y="249662"/>
                  </a:lnTo>
                  <a:lnTo>
                    <a:pt x="183149" y="255244"/>
                  </a:lnTo>
                  <a:lnTo>
                    <a:pt x="221103" y="281752"/>
                  </a:lnTo>
                  <a:lnTo>
                    <a:pt x="225475" y="298399"/>
                  </a:lnTo>
                  <a:lnTo>
                    <a:pt x="224394" y="308100"/>
                  </a:lnTo>
                  <a:lnTo>
                    <a:pt x="186917" y="339704"/>
                  </a:lnTo>
                  <a:lnTo>
                    <a:pt x="157759" y="342684"/>
                  </a:lnTo>
                  <a:lnTo>
                    <a:pt x="319318" y="342684"/>
                  </a:lnTo>
                  <a:lnTo>
                    <a:pt x="327852" y="319854"/>
                  </a:lnTo>
                  <a:lnTo>
                    <a:pt x="330771" y="293941"/>
                  </a:lnTo>
                  <a:lnTo>
                    <a:pt x="328516" y="270002"/>
                  </a:lnTo>
                  <a:lnTo>
                    <a:pt x="310470" y="230283"/>
                  </a:lnTo>
                  <a:lnTo>
                    <a:pt x="274216" y="200955"/>
                  </a:lnTo>
                  <a:lnTo>
                    <a:pt x="218777" y="179095"/>
                  </a:lnTo>
                  <a:lnTo>
                    <a:pt x="161804" y="165954"/>
                  </a:lnTo>
                  <a:lnTo>
                    <a:pt x="143803" y="160783"/>
                  </a:lnTo>
                  <a:lnTo>
                    <a:pt x="107810" y="135759"/>
                  </a:lnTo>
                  <a:lnTo>
                    <a:pt x="103809" y="119062"/>
                  </a:lnTo>
                  <a:lnTo>
                    <a:pt x="104855" y="109799"/>
                  </a:lnTo>
                  <a:lnTo>
                    <a:pt x="140266" y="77250"/>
                  </a:lnTo>
                  <a:lnTo>
                    <a:pt x="165938" y="74040"/>
                  </a:lnTo>
                  <a:lnTo>
                    <a:pt x="315093" y="74040"/>
                  </a:lnTo>
                  <a:lnTo>
                    <a:pt x="314769" y="45021"/>
                  </a:lnTo>
                  <a:lnTo>
                    <a:pt x="268897" y="19416"/>
                  </a:lnTo>
                  <a:lnTo>
                    <a:pt x="227857" y="7115"/>
                  </a:lnTo>
                  <a:lnTo>
                    <a:pt x="183489" y="790"/>
                  </a:lnTo>
                  <a:lnTo>
                    <a:pt x="160362" y="0"/>
                  </a:lnTo>
                  <a:close/>
                </a:path>
                <a:path w="330835" h="417195">
                  <a:moveTo>
                    <a:pt x="315093" y="74040"/>
                  </a:moveTo>
                  <a:lnTo>
                    <a:pt x="165938" y="74040"/>
                  </a:lnTo>
                  <a:lnTo>
                    <a:pt x="175954" y="74414"/>
                  </a:lnTo>
                  <a:lnTo>
                    <a:pt x="185524" y="75533"/>
                  </a:lnTo>
                  <a:lnTo>
                    <a:pt x="225488" y="90602"/>
                  </a:lnTo>
                  <a:lnTo>
                    <a:pt x="242963" y="145110"/>
                  </a:lnTo>
                  <a:lnTo>
                    <a:pt x="315887" y="145110"/>
                  </a:lnTo>
                  <a:lnTo>
                    <a:pt x="315093" y="7404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2" name="object 210">
              <a:extLst>
                <a:ext uri="{FF2B5EF4-FFF2-40B4-BE49-F238E27FC236}">
                  <a16:creationId xmlns:a16="http://schemas.microsoft.com/office/drawing/2014/main" id="{4734769F-AE4C-40BB-8D9F-145B82CBF32E}"/>
                </a:ext>
              </a:extLst>
            </p:cNvPr>
            <p:cNvSpPr/>
            <p:nvPr/>
          </p:nvSpPr>
          <p:spPr>
            <a:xfrm>
              <a:off x="3925061" y="3056939"/>
              <a:ext cx="3657599" cy="6613715"/>
            </a:xfrm>
            <a:prstGeom prst="rect">
              <a:avLst/>
            </a:prstGeom>
            <a:blipFill>
              <a:blip r:embed="rId4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32427642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476F849B-1B68-4A7B-86BE-3EE89226B9C5}"/>
              </a:ext>
            </a:extLst>
          </p:cNvPr>
          <p:cNvGrpSpPr/>
          <p:nvPr/>
        </p:nvGrpSpPr>
        <p:grpSpPr>
          <a:xfrm>
            <a:off x="4724400" y="1371601"/>
            <a:ext cx="3995394" cy="3735005"/>
            <a:chOff x="3440709" y="1352753"/>
            <a:chExt cx="3995394" cy="3735005"/>
          </a:xfrm>
        </p:grpSpPr>
        <p:sp>
          <p:nvSpPr>
            <p:cNvPr id="57" name="object 3">
              <a:extLst>
                <a:ext uri="{FF2B5EF4-FFF2-40B4-BE49-F238E27FC236}">
                  <a16:creationId xmlns:a16="http://schemas.microsoft.com/office/drawing/2014/main" id="{51E41677-A410-426C-B7D5-11CCD147E5F8}"/>
                </a:ext>
              </a:extLst>
            </p:cNvPr>
            <p:cNvSpPr/>
            <p:nvPr/>
          </p:nvSpPr>
          <p:spPr>
            <a:xfrm>
              <a:off x="3440709" y="3323221"/>
              <a:ext cx="117906" cy="12640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4">
              <a:extLst>
                <a:ext uri="{FF2B5EF4-FFF2-40B4-BE49-F238E27FC236}">
                  <a16:creationId xmlns:a16="http://schemas.microsoft.com/office/drawing/2014/main" id="{C5E677A1-E958-4E04-B2DB-3B32778A6666}"/>
                </a:ext>
              </a:extLst>
            </p:cNvPr>
            <p:cNvSpPr/>
            <p:nvPr/>
          </p:nvSpPr>
          <p:spPr>
            <a:xfrm>
              <a:off x="4481385" y="3314191"/>
              <a:ext cx="1775739" cy="13726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">
              <a:extLst>
                <a:ext uri="{FF2B5EF4-FFF2-40B4-BE49-F238E27FC236}">
                  <a16:creationId xmlns:a16="http://schemas.microsoft.com/office/drawing/2014/main" id="{A4F7A47E-04CA-46CD-B674-6791828AE210}"/>
                </a:ext>
              </a:extLst>
            </p:cNvPr>
            <p:cNvSpPr/>
            <p:nvPr/>
          </p:nvSpPr>
          <p:spPr>
            <a:xfrm>
              <a:off x="6313817" y="3314191"/>
              <a:ext cx="286677" cy="137248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">
              <a:extLst>
                <a:ext uri="{FF2B5EF4-FFF2-40B4-BE49-F238E27FC236}">
                  <a16:creationId xmlns:a16="http://schemas.microsoft.com/office/drawing/2014/main" id="{F5976A41-A48D-46DF-A10B-C3375E619DC1}"/>
                </a:ext>
              </a:extLst>
            </p:cNvPr>
            <p:cNvSpPr/>
            <p:nvPr/>
          </p:nvSpPr>
          <p:spPr>
            <a:xfrm>
              <a:off x="6530873" y="3671201"/>
              <a:ext cx="38735" cy="7620"/>
            </a:xfrm>
            <a:custGeom>
              <a:avLst/>
              <a:gdLst/>
              <a:ahLst/>
              <a:cxnLst/>
              <a:rect l="l" t="t" r="r" b="b"/>
              <a:pathLst>
                <a:path w="38734" h="7620">
                  <a:moveTo>
                    <a:pt x="0" y="7620"/>
                  </a:moveTo>
                  <a:lnTo>
                    <a:pt x="38709" y="7620"/>
                  </a:lnTo>
                  <a:lnTo>
                    <a:pt x="38709" y="0"/>
                  </a:lnTo>
                  <a:lnTo>
                    <a:pt x="0" y="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7">
              <a:extLst>
                <a:ext uri="{FF2B5EF4-FFF2-40B4-BE49-F238E27FC236}">
                  <a16:creationId xmlns:a16="http://schemas.microsoft.com/office/drawing/2014/main" id="{43FA2465-502A-4680-9C0D-35FEF5F7FF76}"/>
                </a:ext>
              </a:extLst>
            </p:cNvPr>
            <p:cNvSpPr/>
            <p:nvPr/>
          </p:nvSpPr>
          <p:spPr>
            <a:xfrm>
              <a:off x="6531191" y="3669931"/>
              <a:ext cx="38100" cy="1270"/>
            </a:xfrm>
            <a:custGeom>
              <a:avLst/>
              <a:gdLst/>
              <a:ahLst/>
              <a:cxnLst/>
              <a:rect l="l" t="t" r="r" b="b"/>
              <a:pathLst>
                <a:path w="38100" h="1270">
                  <a:moveTo>
                    <a:pt x="0" y="1269"/>
                  </a:moveTo>
                  <a:lnTo>
                    <a:pt x="38073" y="1269"/>
                  </a:lnTo>
                  <a:lnTo>
                    <a:pt x="38073" y="0"/>
                  </a:lnTo>
                  <a:lnTo>
                    <a:pt x="0" y="0"/>
                  </a:lnTo>
                  <a:lnTo>
                    <a:pt x="0" y="1269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8">
              <a:extLst>
                <a:ext uri="{FF2B5EF4-FFF2-40B4-BE49-F238E27FC236}">
                  <a16:creationId xmlns:a16="http://schemas.microsoft.com/office/drawing/2014/main" id="{5F90E13A-D93F-490D-AC74-139A2A456C66}"/>
                </a:ext>
              </a:extLst>
            </p:cNvPr>
            <p:cNvSpPr/>
            <p:nvPr/>
          </p:nvSpPr>
          <p:spPr>
            <a:xfrm>
              <a:off x="6550228" y="3560711"/>
              <a:ext cx="0" cy="109220"/>
            </a:xfrm>
            <a:custGeom>
              <a:avLst/>
              <a:gdLst/>
              <a:ahLst/>
              <a:cxnLst/>
              <a:rect l="l" t="t" r="r" b="b"/>
              <a:pathLst>
                <a:path h="109220">
                  <a:moveTo>
                    <a:pt x="0" y="0"/>
                  </a:moveTo>
                  <a:lnTo>
                    <a:pt x="0" y="109220"/>
                  </a:lnTo>
                </a:path>
              </a:pathLst>
            </a:custGeom>
            <a:ln w="10414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9">
              <a:extLst>
                <a:ext uri="{FF2B5EF4-FFF2-40B4-BE49-F238E27FC236}">
                  <a16:creationId xmlns:a16="http://schemas.microsoft.com/office/drawing/2014/main" id="{B902224B-C218-4EF5-A54F-BAC401BF6BA5}"/>
                </a:ext>
              </a:extLst>
            </p:cNvPr>
            <p:cNvSpPr/>
            <p:nvPr/>
          </p:nvSpPr>
          <p:spPr>
            <a:xfrm>
              <a:off x="6499961" y="3560711"/>
              <a:ext cx="10160" cy="17780"/>
            </a:xfrm>
            <a:custGeom>
              <a:avLst/>
              <a:gdLst/>
              <a:ahLst/>
              <a:cxnLst/>
              <a:rect l="l" t="t" r="r" b="b"/>
              <a:pathLst>
                <a:path w="10159" h="17779">
                  <a:moveTo>
                    <a:pt x="0" y="17780"/>
                  </a:moveTo>
                  <a:lnTo>
                    <a:pt x="9631" y="17780"/>
                  </a:lnTo>
                  <a:lnTo>
                    <a:pt x="9631" y="0"/>
                  </a:lnTo>
                  <a:lnTo>
                    <a:pt x="0" y="0"/>
                  </a:lnTo>
                  <a:lnTo>
                    <a:pt x="0" y="1778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10">
              <a:extLst>
                <a:ext uri="{FF2B5EF4-FFF2-40B4-BE49-F238E27FC236}">
                  <a16:creationId xmlns:a16="http://schemas.microsoft.com/office/drawing/2014/main" id="{88115F3C-E136-42DA-8EB2-ED60223BB617}"/>
                </a:ext>
              </a:extLst>
            </p:cNvPr>
            <p:cNvSpPr/>
            <p:nvPr/>
          </p:nvSpPr>
          <p:spPr>
            <a:xfrm>
              <a:off x="6499961" y="3556266"/>
              <a:ext cx="100965" cy="0"/>
            </a:xfrm>
            <a:custGeom>
              <a:avLst/>
              <a:gdLst/>
              <a:ahLst/>
              <a:cxnLst/>
              <a:rect l="l" t="t" r="r" b="b"/>
              <a:pathLst>
                <a:path w="100965">
                  <a:moveTo>
                    <a:pt x="0" y="0"/>
                  </a:moveTo>
                  <a:lnTo>
                    <a:pt x="100533" y="0"/>
                  </a:lnTo>
                </a:path>
              </a:pathLst>
            </a:custGeom>
            <a:ln w="8889">
              <a:solidFill>
                <a:srgbClr val="66666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11">
              <a:extLst>
                <a:ext uri="{FF2B5EF4-FFF2-40B4-BE49-F238E27FC236}">
                  <a16:creationId xmlns:a16="http://schemas.microsoft.com/office/drawing/2014/main" id="{4C609140-DB77-4AEE-B921-61409F1502A5}"/>
                </a:ext>
              </a:extLst>
            </p:cNvPr>
            <p:cNvSpPr/>
            <p:nvPr/>
          </p:nvSpPr>
          <p:spPr>
            <a:xfrm>
              <a:off x="6590512" y="3560673"/>
              <a:ext cx="10160" cy="18415"/>
            </a:xfrm>
            <a:custGeom>
              <a:avLst/>
              <a:gdLst/>
              <a:ahLst/>
              <a:cxnLst/>
              <a:rect l="l" t="t" r="r" b="b"/>
              <a:pathLst>
                <a:path w="10159" h="18414">
                  <a:moveTo>
                    <a:pt x="9982" y="0"/>
                  </a:moveTo>
                  <a:lnTo>
                    <a:pt x="0" y="0"/>
                  </a:lnTo>
                  <a:lnTo>
                    <a:pt x="774" y="17805"/>
                  </a:lnTo>
                  <a:lnTo>
                    <a:pt x="9982" y="17805"/>
                  </a:lnTo>
                  <a:lnTo>
                    <a:pt x="9982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12">
              <a:extLst>
                <a:ext uri="{FF2B5EF4-FFF2-40B4-BE49-F238E27FC236}">
                  <a16:creationId xmlns:a16="http://schemas.microsoft.com/office/drawing/2014/main" id="{32D70985-4844-493A-9A6E-9B080F8ACDC7}"/>
                </a:ext>
              </a:extLst>
            </p:cNvPr>
            <p:cNvSpPr/>
            <p:nvPr/>
          </p:nvSpPr>
          <p:spPr>
            <a:xfrm>
              <a:off x="6613600" y="3542791"/>
              <a:ext cx="38735" cy="135890"/>
            </a:xfrm>
            <a:custGeom>
              <a:avLst/>
              <a:gdLst/>
              <a:ahLst/>
              <a:cxnLst/>
              <a:rect l="l" t="t" r="r" b="b"/>
              <a:pathLst>
                <a:path w="38734" h="135889">
                  <a:moveTo>
                    <a:pt x="24485" y="0"/>
                  </a:moveTo>
                  <a:lnTo>
                    <a:pt x="14160" y="0"/>
                  </a:lnTo>
                  <a:lnTo>
                    <a:pt x="14160" y="14579"/>
                  </a:lnTo>
                  <a:lnTo>
                    <a:pt x="24485" y="14579"/>
                  </a:lnTo>
                  <a:lnTo>
                    <a:pt x="24485" y="0"/>
                  </a:lnTo>
                  <a:close/>
                </a:path>
                <a:path w="38734" h="135889">
                  <a:moveTo>
                    <a:pt x="24485" y="41503"/>
                  </a:moveTo>
                  <a:lnTo>
                    <a:pt x="0" y="41503"/>
                  </a:lnTo>
                  <a:lnTo>
                    <a:pt x="0" y="49225"/>
                  </a:lnTo>
                  <a:lnTo>
                    <a:pt x="14147" y="50355"/>
                  </a:lnTo>
                  <a:lnTo>
                    <a:pt x="14147" y="126669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33" y="135432"/>
                  </a:lnTo>
                  <a:lnTo>
                    <a:pt x="38633" y="127787"/>
                  </a:lnTo>
                  <a:lnTo>
                    <a:pt x="24485" y="126669"/>
                  </a:lnTo>
                  <a:lnTo>
                    <a:pt x="24485" y="41503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13">
              <a:extLst>
                <a:ext uri="{FF2B5EF4-FFF2-40B4-BE49-F238E27FC236}">
                  <a16:creationId xmlns:a16="http://schemas.microsoft.com/office/drawing/2014/main" id="{773527BC-4B8A-4711-89F0-4BB4FF63851F}"/>
                </a:ext>
              </a:extLst>
            </p:cNvPr>
            <p:cNvSpPr/>
            <p:nvPr/>
          </p:nvSpPr>
          <p:spPr>
            <a:xfrm>
              <a:off x="6666648" y="3542791"/>
              <a:ext cx="92710" cy="135890"/>
            </a:xfrm>
            <a:custGeom>
              <a:avLst/>
              <a:gdLst/>
              <a:ahLst/>
              <a:cxnLst/>
              <a:rect l="l" t="t" r="r" b="b"/>
              <a:pathLst>
                <a:path w="92709" h="135889">
                  <a:moveTo>
                    <a:pt x="24485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4147" y="8851"/>
                  </a:lnTo>
                  <a:lnTo>
                    <a:pt x="14147" y="126657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33" y="135432"/>
                  </a:lnTo>
                  <a:lnTo>
                    <a:pt x="38633" y="127787"/>
                  </a:lnTo>
                  <a:lnTo>
                    <a:pt x="24485" y="126657"/>
                  </a:lnTo>
                  <a:lnTo>
                    <a:pt x="24485" y="89674"/>
                  </a:lnTo>
                  <a:lnTo>
                    <a:pt x="49872" y="89674"/>
                  </a:lnTo>
                  <a:lnTo>
                    <a:pt x="45313" y="84378"/>
                  </a:lnTo>
                  <a:lnTo>
                    <a:pt x="48746" y="80733"/>
                  </a:lnTo>
                  <a:lnTo>
                    <a:pt x="24485" y="80733"/>
                  </a:lnTo>
                  <a:lnTo>
                    <a:pt x="24485" y="0"/>
                  </a:lnTo>
                  <a:close/>
                </a:path>
                <a:path w="92709" h="135889">
                  <a:moveTo>
                    <a:pt x="49872" y="89674"/>
                  </a:moveTo>
                  <a:lnTo>
                    <a:pt x="36550" y="89674"/>
                  </a:lnTo>
                  <a:lnTo>
                    <a:pt x="69189" y="127177"/>
                  </a:lnTo>
                  <a:lnTo>
                    <a:pt x="59296" y="127787"/>
                  </a:lnTo>
                  <a:lnTo>
                    <a:pt x="59296" y="135432"/>
                  </a:lnTo>
                  <a:lnTo>
                    <a:pt x="92290" y="135432"/>
                  </a:lnTo>
                  <a:lnTo>
                    <a:pt x="92290" y="127787"/>
                  </a:lnTo>
                  <a:lnTo>
                    <a:pt x="81864" y="126834"/>
                  </a:lnTo>
                  <a:lnTo>
                    <a:pt x="49872" y="89674"/>
                  </a:lnTo>
                  <a:close/>
                </a:path>
                <a:path w="92709" h="135889">
                  <a:moveTo>
                    <a:pt x="88379" y="41490"/>
                  </a:moveTo>
                  <a:lnTo>
                    <a:pt x="55295" y="41490"/>
                  </a:lnTo>
                  <a:lnTo>
                    <a:pt x="55295" y="49225"/>
                  </a:lnTo>
                  <a:lnTo>
                    <a:pt x="63893" y="49822"/>
                  </a:lnTo>
                  <a:lnTo>
                    <a:pt x="64071" y="50266"/>
                  </a:lnTo>
                  <a:lnTo>
                    <a:pt x="35509" y="80733"/>
                  </a:lnTo>
                  <a:lnTo>
                    <a:pt x="48746" y="80733"/>
                  </a:lnTo>
                  <a:lnTo>
                    <a:pt x="77444" y="50266"/>
                  </a:lnTo>
                  <a:lnTo>
                    <a:pt x="88379" y="49225"/>
                  </a:lnTo>
                  <a:lnTo>
                    <a:pt x="88379" y="4149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14">
              <a:extLst>
                <a:ext uri="{FF2B5EF4-FFF2-40B4-BE49-F238E27FC236}">
                  <a16:creationId xmlns:a16="http://schemas.microsoft.com/office/drawing/2014/main" id="{41E599DA-CD32-4EB0-965E-C10C3D717DFF}"/>
                </a:ext>
              </a:extLst>
            </p:cNvPr>
            <p:cNvSpPr/>
            <p:nvPr/>
          </p:nvSpPr>
          <p:spPr>
            <a:xfrm>
              <a:off x="6770560" y="3560241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4" h="120014">
                  <a:moveTo>
                    <a:pt x="26657" y="32550"/>
                  </a:moveTo>
                  <a:lnTo>
                    <a:pt x="16154" y="32550"/>
                  </a:lnTo>
                  <a:lnTo>
                    <a:pt x="16154" y="102793"/>
                  </a:lnTo>
                  <a:lnTo>
                    <a:pt x="17994" y="109397"/>
                  </a:lnTo>
                  <a:lnTo>
                    <a:pt x="25336" y="117729"/>
                  </a:lnTo>
                  <a:lnTo>
                    <a:pt x="30480" y="119811"/>
                  </a:lnTo>
                  <a:lnTo>
                    <a:pt x="39573" y="119811"/>
                  </a:lnTo>
                  <a:lnTo>
                    <a:pt x="42049" y="119608"/>
                  </a:lnTo>
                  <a:lnTo>
                    <a:pt x="47028" y="118795"/>
                  </a:lnTo>
                  <a:lnTo>
                    <a:pt x="49149" y="118224"/>
                  </a:lnTo>
                  <a:lnTo>
                    <a:pt x="50876" y="117462"/>
                  </a:lnTo>
                  <a:lnTo>
                    <a:pt x="49506" y="110693"/>
                  </a:lnTo>
                  <a:lnTo>
                    <a:pt x="35191" y="110693"/>
                  </a:lnTo>
                  <a:lnTo>
                    <a:pt x="32208" y="109385"/>
                  </a:lnTo>
                  <a:lnTo>
                    <a:pt x="27774" y="104254"/>
                  </a:lnTo>
                  <a:lnTo>
                    <a:pt x="26657" y="99898"/>
                  </a:lnTo>
                  <a:lnTo>
                    <a:pt x="26657" y="32550"/>
                  </a:lnTo>
                  <a:close/>
                </a:path>
                <a:path w="51434" h="120014">
                  <a:moveTo>
                    <a:pt x="49314" y="109740"/>
                  </a:moveTo>
                  <a:lnTo>
                    <a:pt x="47231" y="110083"/>
                  </a:lnTo>
                  <a:lnTo>
                    <a:pt x="45402" y="110337"/>
                  </a:lnTo>
                  <a:lnTo>
                    <a:pt x="42214" y="110617"/>
                  </a:lnTo>
                  <a:lnTo>
                    <a:pt x="40576" y="110693"/>
                  </a:lnTo>
                  <a:lnTo>
                    <a:pt x="49506" y="110693"/>
                  </a:lnTo>
                  <a:lnTo>
                    <a:pt x="49314" y="109740"/>
                  </a:lnTo>
                  <a:close/>
                </a:path>
                <a:path w="51434" h="120014">
                  <a:moveTo>
                    <a:pt x="47320" y="24053"/>
                  </a:moveTo>
                  <a:lnTo>
                    <a:pt x="0" y="24053"/>
                  </a:lnTo>
                  <a:lnTo>
                    <a:pt x="0" y="32550"/>
                  </a:lnTo>
                  <a:lnTo>
                    <a:pt x="47320" y="32550"/>
                  </a:lnTo>
                  <a:lnTo>
                    <a:pt x="47320" y="24053"/>
                  </a:lnTo>
                  <a:close/>
                </a:path>
                <a:path w="51434" h="120014">
                  <a:moveTo>
                    <a:pt x="26657" y="0"/>
                  </a:moveTo>
                  <a:lnTo>
                    <a:pt x="16154" y="0"/>
                  </a:lnTo>
                  <a:lnTo>
                    <a:pt x="16154" y="24053"/>
                  </a:lnTo>
                  <a:lnTo>
                    <a:pt x="26657" y="24053"/>
                  </a:lnTo>
                  <a:lnTo>
                    <a:pt x="26657" y="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15">
              <a:extLst>
                <a:ext uri="{FF2B5EF4-FFF2-40B4-BE49-F238E27FC236}">
                  <a16:creationId xmlns:a16="http://schemas.microsoft.com/office/drawing/2014/main" id="{025B9DBE-5BA2-47B4-85CB-EE56B05BCEEA}"/>
                </a:ext>
              </a:extLst>
            </p:cNvPr>
            <p:cNvSpPr/>
            <p:nvPr/>
          </p:nvSpPr>
          <p:spPr>
            <a:xfrm>
              <a:off x="6835241" y="3582555"/>
              <a:ext cx="83185" cy="97790"/>
            </a:xfrm>
            <a:custGeom>
              <a:avLst/>
              <a:gdLst/>
              <a:ahLst/>
              <a:cxnLst/>
              <a:rect l="l" t="t" r="r" b="b"/>
              <a:pathLst>
                <a:path w="83184" h="97789">
                  <a:moveTo>
                    <a:pt x="41490" y="0"/>
                  </a:moveTo>
                  <a:lnTo>
                    <a:pt x="6397" y="20391"/>
                  </a:lnTo>
                  <a:lnTo>
                    <a:pt x="0" y="47307"/>
                  </a:lnTo>
                  <a:lnTo>
                    <a:pt x="0" y="50177"/>
                  </a:lnTo>
                  <a:lnTo>
                    <a:pt x="17526" y="90045"/>
                  </a:lnTo>
                  <a:lnTo>
                    <a:pt x="41668" y="97497"/>
                  </a:lnTo>
                  <a:lnTo>
                    <a:pt x="50578" y="96669"/>
                  </a:lnTo>
                  <a:lnTo>
                    <a:pt x="58562" y="94184"/>
                  </a:lnTo>
                  <a:lnTo>
                    <a:pt x="65618" y="90045"/>
                  </a:lnTo>
                  <a:lnTo>
                    <a:pt x="67016" y="88722"/>
                  </a:lnTo>
                  <a:lnTo>
                    <a:pt x="41668" y="88722"/>
                  </a:lnTo>
                  <a:lnTo>
                    <a:pt x="34699" y="88027"/>
                  </a:lnTo>
                  <a:lnTo>
                    <a:pt x="10930" y="58009"/>
                  </a:lnTo>
                  <a:lnTo>
                    <a:pt x="10414" y="50177"/>
                  </a:lnTo>
                  <a:lnTo>
                    <a:pt x="10414" y="47307"/>
                  </a:lnTo>
                  <a:lnTo>
                    <a:pt x="28492" y="11652"/>
                  </a:lnTo>
                  <a:lnTo>
                    <a:pt x="41490" y="8851"/>
                  </a:lnTo>
                  <a:lnTo>
                    <a:pt x="67015" y="8851"/>
                  </a:lnTo>
                  <a:lnTo>
                    <a:pt x="65552" y="7468"/>
                  </a:lnTo>
                  <a:lnTo>
                    <a:pt x="58469" y="3317"/>
                  </a:lnTo>
                  <a:lnTo>
                    <a:pt x="50449" y="829"/>
                  </a:lnTo>
                  <a:lnTo>
                    <a:pt x="41490" y="0"/>
                  </a:lnTo>
                  <a:close/>
                </a:path>
                <a:path w="83184" h="97789">
                  <a:moveTo>
                    <a:pt x="67015" y="8851"/>
                  </a:moveTo>
                  <a:lnTo>
                    <a:pt x="41490" y="8851"/>
                  </a:lnTo>
                  <a:lnTo>
                    <a:pt x="48392" y="9551"/>
                  </a:lnTo>
                  <a:lnTo>
                    <a:pt x="54505" y="11652"/>
                  </a:lnTo>
                  <a:lnTo>
                    <a:pt x="72656" y="47307"/>
                  </a:lnTo>
                  <a:lnTo>
                    <a:pt x="72656" y="50177"/>
                  </a:lnTo>
                  <a:lnTo>
                    <a:pt x="51333" y="88722"/>
                  </a:lnTo>
                  <a:lnTo>
                    <a:pt x="67016" y="88722"/>
                  </a:lnTo>
                  <a:lnTo>
                    <a:pt x="83083" y="50177"/>
                  </a:lnTo>
                  <a:lnTo>
                    <a:pt x="83083" y="47307"/>
                  </a:lnTo>
                  <a:lnTo>
                    <a:pt x="82371" y="37406"/>
                  </a:lnTo>
                  <a:lnTo>
                    <a:pt x="80237" y="28433"/>
                  </a:lnTo>
                  <a:lnTo>
                    <a:pt x="76680" y="20391"/>
                  </a:lnTo>
                  <a:lnTo>
                    <a:pt x="71704" y="13284"/>
                  </a:lnTo>
                  <a:lnTo>
                    <a:pt x="67015" y="8851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16">
              <a:extLst>
                <a:ext uri="{FF2B5EF4-FFF2-40B4-BE49-F238E27FC236}">
                  <a16:creationId xmlns:a16="http://schemas.microsoft.com/office/drawing/2014/main" id="{C9FB26E0-1179-4AC3-8393-02A9C71657F0}"/>
                </a:ext>
              </a:extLst>
            </p:cNvPr>
            <p:cNvSpPr/>
            <p:nvPr/>
          </p:nvSpPr>
          <p:spPr>
            <a:xfrm>
              <a:off x="6930478" y="3542791"/>
              <a:ext cx="92710" cy="135890"/>
            </a:xfrm>
            <a:custGeom>
              <a:avLst/>
              <a:gdLst/>
              <a:ahLst/>
              <a:cxnLst/>
              <a:rect l="l" t="t" r="r" b="b"/>
              <a:pathLst>
                <a:path w="92709" h="135889">
                  <a:moveTo>
                    <a:pt x="24485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4147" y="8851"/>
                  </a:lnTo>
                  <a:lnTo>
                    <a:pt x="14147" y="126657"/>
                  </a:lnTo>
                  <a:lnTo>
                    <a:pt x="0" y="127787"/>
                  </a:lnTo>
                  <a:lnTo>
                    <a:pt x="0" y="135432"/>
                  </a:lnTo>
                  <a:lnTo>
                    <a:pt x="38633" y="135432"/>
                  </a:lnTo>
                  <a:lnTo>
                    <a:pt x="38633" y="127787"/>
                  </a:lnTo>
                  <a:lnTo>
                    <a:pt x="24485" y="126657"/>
                  </a:lnTo>
                  <a:lnTo>
                    <a:pt x="24485" y="89674"/>
                  </a:lnTo>
                  <a:lnTo>
                    <a:pt x="49872" y="89674"/>
                  </a:lnTo>
                  <a:lnTo>
                    <a:pt x="45313" y="84378"/>
                  </a:lnTo>
                  <a:lnTo>
                    <a:pt x="48746" y="80733"/>
                  </a:lnTo>
                  <a:lnTo>
                    <a:pt x="24485" y="80733"/>
                  </a:lnTo>
                  <a:lnTo>
                    <a:pt x="24485" y="0"/>
                  </a:lnTo>
                  <a:close/>
                </a:path>
                <a:path w="92709" h="135889">
                  <a:moveTo>
                    <a:pt x="49872" y="89674"/>
                  </a:moveTo>
                  <a:lnTo>
                    <a:pt x="36550" y="89674"/>
                  </a:lnTo>
                  <a:lnTo>
                    <a:pt x="69189" y="127177"/>
                  </a:lnTo>
                  <a:lnTo>
                    <a:pt x="59296" y="127787"/>
                  </a:lnTo>
                  <a:lnTo>
                    <a:pt x="59296" y="135432"/>
                  </a:lnTo>
                  <a:lnTo>
                    <a:pt x="92290" y="135432"/>
                  </a:lnTo>
                  <a:lnTo>
                    <a:pt x="92290" y="127787"/>
                  </a:lnTo>
                  <a:lnTo>
                    <a:pt x="81864" y="126834"/>
                  </a:lnTo>
                  <a:lnTo>
                    <a:pt x="49872" y="89674"/>
                  </a:lnTo>
                  <a:close/>
                </a:path>
                <a:path w="92709" h="135889">
                  <a:moveTo>
                    <a:pt x="88379" y="41490"/>
                  </a:moveTo>
                  <a:lnTo>
                    <a:pt x="55295" y="41490"/>
                  </a:lnTo>
                  <a:lnTo>
                    <a:pt x="55295" y="49225"/>
                  </a:lnTo>
                  <a:lnTo>
                    <a:pt x="63893" y="49822"/>
                  </a:lnTo>
                  <a:lnTo>
                    <a:pt x="64071" y="50266"/>
                  </a:lnTo>
                  <a:lnTo>
                    <a:pt x="35509" y="80733"/>
                  </a:lnTo>
                  <a:lnTo>
                    <a:pt x="48746" y="80733"/>
                  </a:lnTo>
                  <a:lnTo>
                    <a:pt x="77444" y="50266"/>
                  </a:lnTo>
                  <a:lnTo>
                    <a:pt x="88379" y="49225"/>
                  </a:lnTo>
                  <a:lnTo>
                    <a:pt x="88379" y="41490"/>
                  </a:lnTo>
                  <a:close/>
                </a:path>
              </a:pathLst>
            </a:custGeom>
            <a:solidFill>
              <a:srgbClr val="66666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17">
              <a:extLst>
                <a:ext uri="{FF2B5EF4-FFF2-40B4-BE49-F238E27FC236}">
                  <a16:creationId xmlns:a16="http://schemas.microsoft.com/office/drawing/2014/main" id="{D4FCADCF-43AC-49A8-B000-264CA74EF55B}"/>
                </a:ext>
              </a:extLst>
            </p:cNvPr>
            <p:cNvSpPr/>
            <p:nvPr/>
          </p:nvSpPr>
          <p:spPr>
            <a:xfrm>
              <a:off x="3442284" y="3312375"/>
              <a:ext cx="3993819" cy="1775383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2" name="object 18">
              <a:extLst>
                <a:ext uri="{FF2B5EF4-FFF2-40B4-BE49-F238E27FC236}">
                  <a16:creationId xmlns:a16="http://schemas.microsoft.com/office/drawing/2014/main" id="{209F3968-D286-4AD9-949B-C6CE608D12EA}"/>
                </a:ext>
              </a:extLst>
            </p:cNvPr>
            <p:cNvSpPr/>
            <p:nvPr/>
          </p:nvSpPr>
          <p:spPr>
            <a:xfrm>
              <a:off x="3456775" y="1391450"/>
              <a:ext cx="407670" cy="542290"/>
            </a:xfrm>
            <a:custGeom>
              <a:avLst/>
              <a:gdLst/>
              <a:ahLst/>
              <a:cxnLst/>
              <a:rect l="l" t="t" r="r" b="b"/>
              <a:pathLst>
                <a:path w="407670" h="542289">
                  <a:moveTo>
                    <a:pt x="224358" y="0"/>
                  </a:moveTo>
                  <a:lnTo>
                    <a:pt x="0" y="0"/>
                  </a:lnTo>
                  <a:lnTo>
                    <a:pt x="0" y="65481"/>
                  </a:lnTo>
                  <a:lnTo>
                    <a:pt x="57670" y="76644"/>
                  </a:lnTo>
                  <a:lnTo>
                    <a:pt x="57670" y="465454"/>
                  </a:lnTo>
                  <a:lnTo>
                    <a:pt x="0" y="476618"/>
                  </a:lnTo>
                  <a:lnTo>
                    <a:pt x="0" y="541731"/>
                  </a:lnTo>
                  <a:lnTo>
                    <a:pt x="407416" y="541731"/>
                  </a:lnTo>
                  <a:lnTo>
                    <a:pt x="407416" y="458393"/>
                  </a:lnTo>
                  <a:lnTo>
                    <a:pt x="166319" y="458393"/>
                  </a:lnTo>
                  <a:lnTo>
                    <a:pt x="166319" y="76644"/>
                  </a:lnTo>
                  <a:lnTo>
                    <a:pt x="224358" y="65481"/>
                  </a:lnTo>
                  <a:lnTo>
                    <a:pt x="224358" y="0"/>
                  </a:lnTo>
                  <a:close/>
                </a:path>
                <a:path w="407670" h="542289">
                  <a:moveTo>
                    <a:pt x="407416" y="390296"/>
                  </a:moveTo>
                  <a:lnTo>
                    <a:pt x="324446" y="390296"/>
                  </a:lnTo>
                  <a:lnTo>
                    <a:pt x="319239" y="458393"/>
                  </a:lnTo>
                  <a:lnTo>
                    <a:pt x="407416" y="458393"/>
                  </a:lnTo>
                  <a:lnTo>
                    <a:pt x="407416" y="390296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19">
              <a:extLst>
                <a:ext uri="{FF2B5EF4-FFF2-40B4-BE49-F238E27FC236}">
                  <a16:creationId xmlns:a16="http://schemas.microsoft.com/office/drawing/2014/main" id="{1A51A5FF-E17D-4400-81CC-BB8C1AC127D3}"/>
                </a:ext>
              </a:extLst>
            </p:cNvPr>
            <p:cNvSpPr/>
            <p:nvPr/>
          </p:nvSpPr>
          <p:spPr>
            <a:xfrm>
              <a:off x="3896944" y="1352753"/>
              <a:ext cx="219075" cy="581025"/>
            </a:xfrm>
            <a:custGeom>
              <a:avLst/>
              <a:gdLst/>
              <a:ahLst/>
              <a:cxnLst/>
              <a:rect l="l" t="t" r="r" b="b"/>
              <a:pathLst>
                <a:path w="219075" h="581025">
                  <a:moveTo>
                    <a:pt x="166687" y="0"/>
                  </a:moveTo>
                  <a:lnTo>
                    <a:pt x="58038" y="0"/>
                  </a:lnTo>
                  <a:lnTo>
                    <a:pt x="58038" y="81483"/>
                  </a:lnTo>
                  <a:lnTo>
                    <a:pt x="166687" y="81483"/>
                  </a:lnTo>
                  <a:lnTo>
                    <a:pt x="166687" y="0"/>
                  </a:lnTo>
                  <a:close/>
                </a:path>
                <a:path w="219075" h="581025">
                  <a:moveTo>
                    <a:pt x="166687" y="177850"/>
                  </a:moveTo>
                  <a:lnTo>
                    <a:pt x="0" y="177850"/>
                  </a:lnTo>
                  <a:lnTo>
                    <a:pt x="0" y="243332"/>
                  </a:lnTo>
                  <a:lnTo>
                    <a:pt x="58038" y="254495"/>
                  </a:lnTo>
                  <a:lnTo>
                    <a:pt x="58038" y="504151"/>
                  </a:lnTo>
                  <a:lnTo>
                    <a:pt x="5575" y="515315"/>
                  </a:lnTo>
                  <a:lnTo>
                    <a:pt x="5575" y="580428"/>
                  </a:lnTo>
                  <a:lnTo>
                    <a:pt x="218770" y="580428"/>
                  </a:lnTo>
                  <a:lnTo>
                    <a:pt x="218770" y="515315"/>
                  </a:lnTo>
                  <a:lnTo>
                    <a:pt x="166687" y="504151"/>
                  </a:lnTo>
                  <a:lnTo>
                    <a:pt x="166687" y="17785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20">
              <a:extLst>
                <a:ext uri="{FF2B5EF4-FFF2-40B4-BE49-F238E27FC236}">
                  <a16:creationId xmlns:a16="http://schemas.microsoft.com/office/drawing/2014/main" id="{67796270-C9AE-43DC-B8C3-DA12ABC05A7B}"/>
                </a:ext>
              </a:extLst>
            </p:cNvPr>
            <p:cNvSpPr/>
            <p:nvPr/>
          </p:nvSpPr>
          <p:spPr>
            <a:xfrm>
              <a:off x="4139526" y="1530603"/>
              <a:ext cx="412115" cy="402590"/>
            </a:xfrm>
            <a:custGeom>
              <a:avLst/>
              <a:gdLst/>
              <a:ahLst/>
              <a:cxnLst/>
              <a:rect l="l" t="t" r="r" b="b"/>
              <a:pathLst>
                <a:path w="412114" h="402589">
                  <a:moveTo>
                    <a:pt x="182689" y="0"/>
                  </a:moveTo>
                  <a:lnTo>
                    <a:pt x="0" y="0"/>
                  </a:lnTo>
                  <a:lnTo>
                    <a:pt x="0" y="65481"/>
                  </a:lnTo>
                  <a:lnTo>
                    <a:pt x="34975" y="71056"/>
                  </a:lnTo>
                  <a:lnTo>
                    <a:pt x="154038" y="402577"/>
                  </a:lnTo>
                  <a:lnTo>
                    <a:pt x="257848" y="402577"/>
                  </a:lnTo>
                  <a:lnTo>
                    <a:pt x="297943" y="290588"/>
                  </a:lnTo>
                  <a:lnTo>
                    <a:pt x="205016" y="290588"/>
                  </a:lnTo>
                  <a:lnTo>
                    <a:pt x="197942" y="252628"/>
                  </a:lnTo>
                  <a:lnTo>
                    <a:pt x="144741" y="72555"/>
                  </a:lnTo>
                  <a:lnTo>
                    <a:pt x="182689" y="65481"/>
                  </a:lnTo>
                  <a:lnTo>
                    <a:pt x="182689" y="0"/>
                  </a:lnTo>
                  <a:close/>
                </a:path>
                <a:path w="412114" h="402589">
                  <a:moveTo>
                    <a:pt x="411518" y="0"/>
                  </a:moveTo>
                  <a:lnTo>
                    <a:pt x="228828" y="0"/>
                  </a:lnTo>
                  <a:lnTo>
                    <a:pt x="228828" y="65481"/>
                  </a:lnTo>
                  <a:lnTo>
                    <a:pt x="267525" y="72923"/>
                  </a:lnTo>
                  <a:lnTo>
                    <a:pt x="215061" y="252628"/>
                  </a:lnTo>
                  <a:lnTo>
                    <a:pt x="207251" y="290588"/>
                  </a:lnTo>
                  <a:lnTo>
                    <a:pt x="297943" y="290588"/>
                  </a:lnTo>
                  <a:lnTo>
                    <a:pt x="376542" y="71056"/>
                  </a:lnTo>
                  <a:lnTo>
                    <a:pt x="411518" y="65481"/>
                  </a:lnTo>
                  <a:lnTo>
                    <a:pt x="411518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21">
              <a:extLst>
                <a:ext uri="{FF2B5EF4-FFF2-40B4-BE49-F238E27FC236}">
                  <a16:creationId xmlns:a16="http://schemas.microsoft.com/office/drawing/2014/main" id="{5C7D5FC6-0513-4136-8C43-F8ED3E1BAE79}"/>
                </a:ext>
              </a:extLst>
            </p:cNvPr>
            <p:cNvSpPr/>
            <p:nvPr/>
          </p:nvSpPr>
          <p:spPr>
            <a:xfrm>
              <a:off x="4582286" y="1523149"/>
              <a:ext cx="353695" cy="418465"/>
            </a:xfrm>
            <a:custGeom>
              <a:avLst/>
              <a:gdLst/>
              <a:ahLst/>
              <a:cxnLst/>
              <a:rect l="l" t="t" r="r" b="b"/>
              <a:pathLst>
                <a:path w="353695" h="418464">
                  <a:moveTo>
                    <a:pt x="181571" y="0"/>
                  </a:moveTo>
                  <a:lnTo>
                    <a:pt x="142193" y="3467"/>
                  </a:lnTo>
                  <a:lnTo>
                    <a:pt x="76056" y="32300"/>
                  </a:lnTo>
                  <a:lnTo>
                    <a:pt x="27732" y="88669"/>
                  </a:lnTo>
                  <a:lnTo>
                    <a:pt x="12325" y="123621"/>
                  </a:lnTo>
                  <a:lnTo>
                    <a:pt x="3081" y="162526"/>
                  </a:lnTo>
                  <a:lnTo>
                    <a:pt x="0" y="205384"/>
                  </a:lnTo>
                  <a:lnTo>
                    <a:pt x="0" y="220268"/>
                  </a:lnTo>
                  <a:lnTo>
                    <a:pt x="3255" y="261360"/>
                  </a:lnTo>
                  <a:lnTo>
                    <a:pt x="13022" y="298681"/>
                  </a:lnTo>
                  <a:lnTo>
                    <a:pt x="52095" y="362026"/>
                  </a:lnTo>
                  <a:lnTo>
                    <a:pt x="112923" y="403888"/>
                  </a:lnTo>
                  <a:lnTo>
                    <a:pt x="149898" y="414354"/>
                  </a:lnTo>
                  <a:lnTo>
                    <a:pt x="191249" y="417842"/>
                  </a:lnTo>
                  <a:lnTo>
                    <a:pt x="215047" y="417004"/>
                  </a:lnTo>
                  <a:lnTo>
                    <a:pt x="259232" y="410304"/>
                  </a:lnTo>
                  <a:lnTo>
                    <a:pt x="298508" y="397352"/>
                  </a:lnTo>
                  <a:lnTo>
                    <a:pt x="344170" y="371322"/>
                  </a:lnTo>
                  <a:lnTo>
                    <a:pt x="328000" y="334492"/>
                  </a:lnTo>
                  <a:lnTo>
                    <a:pt x="202780" y="334492"/>
                  </a:lnTo>
                  <a:lnTo>
                    <a:pt x="183559" y="332887"/>
                  </a:lnTo>
                  <a:lnTo>
                    <a:pt x="138595" y="308825"/>
                  </a:lnTo>
                  <a:lnTo>
                    <a:pt x="114772" y="262355"/>
                  </a:lnTo>
                  <a:lnTo>
                    <a:pt x="111988" y="243331"/>
                  </a:lnTo>
                  <a:lnTo>
                    <a:pt x="112737" y="241109"/>
                  </a:lnTo>
                  <a:lnTo>
                    <a:pt x="353098" y="241109"/>
                  </a:lnTo>
                  <a:lnTo>
                    <a:pt x="353098" y="181940"/>
                  </a:lnTo>
                  <a:lnTo>
                    <a:pt x="352201" y="169290"/>
                  </a:lnTo>
                  <a:lnTo>
                    <a:pt x="113487" y="169290"/>
                  </a:lnTo>
                  <a:lnTo>
                    <a:pt x="112369" y="167436"/>
                  </a:lnTo>
                  <a:lnTo>
                    <a:pt x="126040" y="119223"/>
                  </a:lnTo>
                  <a:lnTo>
                    <a:pt x="154597" y="89482"/>
                  </a:lnTo>
                  <a:lnTo>
                    <a:pt x="181571" y="83718"/>
                  </a:lnTo>
                  <a:lnTo>
                    <a:pt x="331343" y="83718"/>
                  </a:lnTo>
                  <a:lnTo>
                    <a:pt x="327771" y="75835"/>
                  </a:lnTo>
                  <a:lnTo>
                    <a:pt x="308076" y="49110"/>
                  </a:lnTo>
                  <a:lnTo>
                    <a:pt x="283288" y="27624"/>
                  </a:lnTo>
                  <a:lnTo>
                    <a:pt x="253939" y="12277"/>
                  </a:lnTo>
                  <a:lnTo>
                    <a:pt x="220033" y="3069"/>
                  </a:lnTo>
                  <a:lnTo>
                    <a:pt x="181571" y="0"/>
                  </a:lnTo>
                  <a:close/>
                </a:path>
                <a:path w="353695" h="418464">
                  <a:moveTo>
                    <a:pt x="314769" y="304355"/>
                  </a:moveTo>
                  <a:lnTo>
                    <a:pt x="274871" y="323088"/>
                  </a:lnTo>
                  <a:lnTo>
                    <a:pt x="235800" y="332681"/>
                  </a:lnTo>
                  <a:lnTo>
                    <a:pt x="202780" y="334492"/>
                  </a:lnTo>
                  <a:lnTo>
                    <a:pt x="328000" y="334492"/>
                  </a:lnTo>
                  <a:lnTo>
                    <a:pt x="314769" y="304355"/>
                  </a:lnTo>
                  <a:close/>
                </a:path>
                <a:path w="353695" h="418464">
                  <a:moveTo>
                    <a:pt x="331343" y="83718"/>
                  </a:moveTo>
                  <a:lnTo>
                    <a:pt x="181571" y="83718"/>
                  </a:lnTo>
                  <a:lnTo>
                    <a:pt x="196909" y="85009"/>
                  </a:lnTo>
                  <a:lnTo>
                    <a:pt x="210177" y="88880"/>
                  </a:lnTo>
                  <a:lnTo>
                    <a:pt x="237581" y="115565"/>
                  </a:lnTo>
                  <a:lnTo>
                    <a:pt x="246684" y="159626"/>
                  </a:lnTo>
                  <a:lnTo>
                    <a:pt x="246684" y="169290"/>
                  </a:lnTo>
                  <a:lnTo>
                    <a:pt x="352201" y="169290"/>
                  </a:lnTo>
                  <a:lnTo>
                    <a:pt x="350283" y="142249"/>
                  </a:lnTo>
                  <a:lnTo>
                    <a:pt x="341841" y="106881"/>
                  </a:lnTo>
                  <a:lnTo>
                    <a:pt x="331343" y="83718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22">
              <a:extLst>
                <a:ext uri="{FF2B5EF4-FFF2-40B4-BE49-F238E27FC236}">
                  <a16:creationId xmlns:a16="http://schemas.microsoft.com/office/drawing/2014/main" id="{9103E344-FD6C-447A-B27E-0389B863616F}"/>
                </a:ext>
              </a:extLst>
            </p:cNvPr>
            <p:cNvSpPr/>
            <p:nvPr/>
          </p:nvSpPr>
          <p:spPr>
            <a:xfrm>
              <a:off x="3472040" y="2285898"/>
              <a:ext cx="330835" cy="417195"/>
            </a:xfrm>
            <a:custGeom>
              <a:avLst/>
              <a:gdLst/>
              <a:ahLst/>
              <a:cxnLst/>
              <a:rect l="l" t="t" r="r" b="b"/>
              <a:pathLst>
                <a:path w="330835" h="417194">
                  <a:moveTo>
                    <a:pt x="81483" y="274218"/>
                  </a:moveTo>
                  <a:lnTo>
                    <a:pt x="5575" y="274218"/>
                  </a:lnTo>
                  <a:lnTo>
                    <a:pt x="6692" y="364629"/>
                  </a:lnTo>
                  <a:lnTo>
                    <a:pt x="39019" y="387002"/>
                  </a:lnTo>
                  <a:lnTo>
                    <a:pt x="75717" y="403517"/>
                  </a:lnTo>
                  <a:lnTo>
                    <a:pt x="116503" y="413700"/>
                  </a:lnTo>
                  <a:lnTo>
                    <a:pt x="161099" y="417093"/>
                  </a:lnTo>
                  <a:lnTo>
                    <a:pt x="197389" y="414942"/>
                  </a:lnTo>
                  <a:lnTo>
                    <a:pt x="258877" y="397735"/>
                  </a:lnTo>
                  <a:lnTo>
                    <a:pt x="304502" y="364221"/>
                  </a:lnTo>
                  <a:lnTo>
                    <a:pt x="319318" y="342684"/>
                  </a:lnTo>
                  <a:lnTo>
                    <a:pt x="157759" y="342684"/>
                  </a:lnTo>
                  <a:lnTo>
                    <a:pt x="148736" y="342439"/>
                  </a:lnTo>
                  <a:lnTo>
                    <a:pt x="107808" y="333798"/>
                  </a:lnTo>
                  <a:lnTo>
                    <a:pt x="96367" y="326682"/>
                  </a:lnTo>
                  <a:lnTo>
                    <a:pt x="81483" y="274218"/>
                  </a:lnTo>
                  <a:close/>
                </a:path>
                <a:path w="330835" h="417194">
                  <a:moveTo>
                    <a:pt x="160362" y="0"/>
                  </a:moveTo>
                  <a:lnTo>
                    <a:pt x="92181" y="9163"/>
                  </a:lnTo>
                  <a:lnTo>
                    <a:pt x="41668" y="36652"/>
                  </a:lnTo>
                  <a:lnTo>
                    <a:pt x="10418" y="76790"/>
                  </a:lnTo>
                  <a:lnTo>
                    <a:pt x="0" y="123901"/>
                  </a:lnTo>
                  <a:lnTo>
                    <a:pt x="2266" y="147166"/>
                  </a:lnTo>
                  <a:lnTo>
                    <a:pt x="20402" y="185951"/>
                  </a:lnTo>
                  <a:lnTo>
                    <a:pt x="56588" y="214838"/>
                  </a:lnTo>
                  <a:lnTo>
                    <a:pt x="110262" y="236327"/>
                  </a:lnTo>
                  <a:lnTo>
                    <a:pt x="165221" y="249662"/>
                  </a:lnTo>
                  <a:lnTo>
                    <a:pt x="183149" y="255244"/>
                  </a:lnTo>
                  <a:lnTo>
                    <a:pt x="221103" y="281752"/>
                  </a:lnTo>
                  <a:lnTo>
                    <a:pt x="225475" y="298399"/>
                  </a:lnTo>
                  <a:lnTo>
                    <a:pt x="224394" y="308100"/>
                  </a:lnTo>
                  <a:lnTo>
                    <a:pt x="186917" y="339704"/>
                  </a:lnTo>
                  <a:lnTo>
                    <a:pt x="157759" y="342684"/>
                  </a:lnTo>
                  <a:lnTo>
                    <a:pt x="319318" y="342684"/>
                  </a:lnTo>
                  <a:lnTo>
                    <a:pt x="327852" y="319854"/>
                  </a:lnTo>
                  <a:lnTo>
                    <a:pt x="330771" y="293941"/>
                  </a:lnTo>
                  <a:lnTo>
                    <a:pt x="328516" y="270002"/>
                  </a:lnTo>
                  <a:lnTo>
                    <a:pt x="310470" y="230283"/>
                  </a:lnTo>
                  <a:lnTo>
                    <a:pt x="274216" y="200955"/>
                  </a:lnTo>
                  <a:lnTo>
                    <a:pt x="218777" y="179095"/>
                  </a:lnTo>
                  <a:lnTo>
                    <a:pt x="161804" y="165954"/>
                  </a:lnTo>
                  <a:lnTo>
                    <a:pt x="143803" y="160783"/>
                  </a:lnTo>
                  <a:lnTo>
                    <a:pt x="107810" y="135759"/>
                  </a:lnTo>
                  <a:lnTo>
                    <a:pt x="103809" y="119062"/>
                  </a:lnTo>
                  <a:lnTo>
                    <a:pt x="104855" y="109799"/>
                  </a:lnTo>
                  <a:lnTo>
                    <a:pt x="140266" y="77250"/>
                  </a:lnTo>
                  <a:lnTo>
                    <a:pt x="165938" y="74041"/>
                  </a:lnTo>
                  <a:lnTo>
                    <a:pt x="315093" y="74041"/>
                  </a:lnTo>
                  <a:lnTo>
                    <a:pt x="314769" y="45021"/>
                  </a:lnTo>
                  <a:lnTo>
                    <a:pt x="268897" y="19416"/>
                  </a:lnTo>
                  <a:lnTo>
                    <a:pt x="227857" y="7115"/>
                  </a:lnTo>
                  <a:lnTo>
                    <a:pt x="183489" y="790"/>
                  </a:lnTo>
                  <a:lnTo>
                    <a:pt x="160362" y="0"/>
                  </a:lnTo>
                  <a:close/>
                </a:path>
                <a:path w="330835" h="417194">
                  <a:moveTo>
                    <a:pt x="315093" y="74041"/>
                  </a:moveTo>
                  <a:lnTo>
                    <a:pt x="165938" y="74041"/>
                  </a:lnTo>
                  <a:lnTo>
                    <a:pt x="175954" y="74414"/>
                  </a:lnTo>
                  <a:lnTo>
                    <a:pt x="185524" y="75533"/>
                  </a:lnTo>
                  <a:lnTo>
                    <a:pt x="225488" y="90602"/>
                  </a:lnTo>
                  <a:lnTo>
                    <a:pt x="242963" y="145110"/>
                  </a:lnTo>
                  <a:lnTo>
                    <a:pt x="315887" y="145110"/>
                  </a:lnTo>
                  <a:lnTo>
                    <a:pt x="315093" y="74041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23">
              <a:extLst>
                <a:ext uri="{FF2B5EF4-FFF2-40B4-BE49-F238E27FC236}">
                  <a16:creationId xmlns:a16="http://schemas.microsoft.com/office/drawing/2014/main" id="{13A03EF0-B2DD-4C49-9A61-29AC9EFE7432}"/>
                </a:ext>
              </a:extLst>
            </p:cNvPr>
            <p:cNvSpPr/>
            <p:nvPr/>
          </p:nvSpPr>
          <p:spPr>
            <a:xfrm>
              <a:off x="3844467" y="2194001"/>
              <a:ext cx="250825" cy="509270"/>
            </a:xfrm>
            <a:custGeom>
              <a:avLst/>
              <a:gdLst/>
              <a:ahLst/>
              <a:cxnLst/>
              <a:rect l="l" t="t" r="r" b="b"/>
              <a:pathLst>
                <a:path w="250825" h="509269">
                  <a:moveTo>
                    <a:pt x="167436" y="174879"/>
                  </a:moveTo>
                  <a:lnTo>
                    <a:pt x="59169" y="174879"/>
                  </a:lnTo>
                  <a:lnTo>
                    <a:pt x="59169" y="380250"/>
                  </a:lnTo>
                  <a:lnTo>
                    <a:pt x="66749" y="438202"/>
                  </a:lnTo>
                  <a:lnTo>
                    <a:pt x="89484" y="478104"/>
                  </a:lnTo>
                  <a:lnTo>
                    <a:pt x="126277" y="501272"/>
                  </a:lnTo>
                  <a:lnTo>
                    <a:pt x="175996" y="508990"/>
                  </a:lnTo>
                  <a:lnTo>
                    <a:pt x="186229" y="508816"/>
                  </a:lnTo>
                  <a:lnTo>
                    <a:pt x="232638" y="502712"/>
                  </a:lnTo>
                  <a:lnTo>
                    <a:pt x="250774" y="497827"/>
                  </a:lnTo>
                  <a:lnTo>
                    <a:pt x="241962" y="423418"/>
                  </a:lnTo>
                  <a:lnTo>
                    <a:pt x="203161" y="423418"/>
                  </a:lnTo>
                  <a:lnTo>
                    <a:pt x="195391" y="422789"/>
                  </a:lnTo>
                  <a:lnTo>
                    <a:pt x="168041" y="390767"/>
                  </a:lnTo>
                  <a:lnTo>
                    <a:pt x="167457" y="380250"/>
                  </a:lnTo>
                  <a:lnTo>
                    <a:pt x="167436" y="174879"/>
                  </a:lnTo>
                  <a:close/>
                </a:path>
                <a:path w="250825" h="509269">
                  <a:moveTo>
                    <a:pt x="241477" y="419328"/>
                  </a:moveTo>
                  <a:lnTo>
                    <a:pt x="234530" y="420814"/>
                  </a:lnTo>
                  <a:lnTo>
                    <a:pt x="228269" y="421868"/>
                  </a:lnTo>
                  <a:lnTo>
                    <a:pt x="217106" y="423100"/>
                  </a:lnTo>
                  <a:lnTo>
                    <a:pt x="210591" y="423418"/>
                  </a:lnTo>
                  <a:lnTo>
                    <a:pt x="241962" y="423418"/>
                  </a:lnTo>
                  <a:lnTo>
                    <a:pt x="241477" y="419328"/>
                  </a:lnTo>
                  <a:close/>
                </a:path>
                <a:path w="250825" h="509269">
                  <a:moveTo>
                    <a:pt x="238125" y="98602"/>
                  </a:moveTo>
                  <a:lnTo>
                    <a:pt x="0" y="98602"/>
                  </a:lnTo>
                  <a:lnTo>
                    <a:pt x="0" y="174879"/>
                  </a:lnTo>
                  <a:lnTo>
                    <a:pt x="238125" y="174879"/>
                  </a:lnTo>
                  <a:lnTo>
                    <a:pt x="238125" y="98602"/>
                  </a:lnTo>
                  <a:close/>
                </a:path>
                <a:path w="250825" h="509269">
                  <a:moveTo>
                    <a:pt x="167436" y="0"/>
                  </a:moveTo>
                  <a:lnTo>
                    <a:pt x="59169" y="0"/>
                  </a:lnTo>
                  <a:lnTo>
                    <a:pt x="59169" y="98602"/>
                  </a:lnTo>
                  <a:lnTo>
                    <a:pt x="167436" y="98602"/>
                  </a:lnTo>
                  <a:lnTo>
                    <a:pt x="167436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24">
              <a:extLst>
                <a:ext uri="{FF2B5EF4-FFF2-40B4-BE49-F238E27FC236}">
                  <a16:creationId xmlns:a16="http://schemas.microsoft.com/office/drawing/2014/main" id="{DDC4E09A-E0D9-4808-8A34-AEE0E9AB96AB}"/>
                </a:ext>
              </a:extLst>
            </p:cNvPr>
            <p:cNvSpPr/>
            <p:nvPr/>
          </p:nvSpPr>
          <p:spPr>
            <a:xfrm>
              <a:off x="4138421" y="2285161"/>
              <a:ext cx="285750" cy="410209"/>
            </a:xfrm>
            <a:custGeom>
              <a:avLst/>
              <a:gdLst/>
              <a:ahLst/>
              <a:cxnLst/>
              <a:rect l="l" t="t" r="r" b="b"/>
              <a:pathLst>
                <a:path w="285750" h="410210">
                  <a:moveTo>
                    <a:pt x="158864" y="7442"/>
                  </a:moveTo>
                  <a:lnTo>
                    <a:pt x="0" y="7442"/>
                  </a:lnTo>
                  <a:lnTo>
                    <a:pt x="0" y="72923"/>
                  </a:lnTo>
                  <a:lnTo>
                    <a:pt x="57670" y="84086"/>
                  </a:lnTo>
                  <a:lnTo>
                    <a:pt x="57670" y="333743"/>
                  </a:lnTo>
                  <a:lnTo>
                    <a:pt x="5575" y="344906"/>
                  </a:lnTo>
                  <a:lnTo>
                    <a:pt x="5575" y="410019"/>
                  </a:lnTo>
                  <a:lnTo>
                    <a:pt x="218401" y="410019"/>
                  </a:lnTo>
                  <a:lnTo>
                    <a:pt x="218401" y="344906"/>
                  </a:lnTo>
                  <a:lnTo>
                    <a:pt x="166306" y="333743"/>
                  </a:lnTo>
                  <a:lnTo>
                    <a:pt x="166306" y="138036"/>
                  </a:lnTo>
                  <a:lnTo>
                    <a:pt x="198448" y="107551"/>
                  </a:lnTo>
                  <a:lnTo>
                    <a:pt x="229565" y="102311"/>
                  </a:lnTo>
                  <a:lnTo>
                    <a:pt x="274336" y="102311"/>
                  </a:lnTo>
                  <a:lnTo>
                    <a:pt x="278544" y="66230"/>
                  </a:lnTo>
                  <a:lnTo>
                    <a:pt x="163703" y="66230"/>
                  </a:lnTo>
                  <a:lnTo>
                    <a:pt x="158864" y="7442"/>
                  </a:lnTo>
                  <a:close/>
                </a:path>
                <a:path w="285750" h="410210">
                  <a:moveTo>
                    <a:pt x="274336" y="102311"/>
                  </a:moveTo>
                  <a:lnTo>
                    <a:pt x="229565" y="102311"/>
                  </a:lnTo>
                  <a:lnTo>
                    <a:pt x="274205" y="103428"/>
                  </a:lnTo>
                  <a:lnTo>
                    <a:pt x="274336" y="102311"/>
                  </a:lnTo>
                  <a:close/>
                </a:path>
                <a:path w="285750" h="410210">
                  <a:moveTo>
                    <a:pt x="257594" y="0"/>
                  </a:moveTo>
                  <a:lnTo>
                    <a:pt x="251891" y="0"/>
                  </a:lnTo>
                  <a:lnTo>
                    <a:pt x="237635" y="1092"/>
                  </a:lnTo>
                  <a:lnTo>
                    <a:pt x="200164" y="17487"/>
                  </a:lnTo>
                  <a:lnTo>
                    <a:pt x="171282" y="51461"/>
                  </a:lnTo>
                  <a:lnTo>
                    <a:pt x="163703" y="66230"/>
                  </a:lnTo>
                  <a:lnTo>
                    <a:pt x="278544" y="66230"/>
                  </a:lnTo>
                  <a:lnTo>
                    <a:pt x="285750" y="4457"/>
                  </a:lnTo>
                  <a:lnTo>
                    <a:pt x="281533" y="3225"/>
                  </a:lnTo>
                  <a:lnTo>
                    <a:pt x="276250" y="2171"/>
                  </a:lnTo>
                  <a:lnTo>
                    <a:pt x="263601" y="431"/>
                  </a:lnTo>
                  <a:lnTo>
                    <a:pt x="257594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9" name="object 25">
              <a:extLst>
                <a:ext uri="{FF2B5EF4-FFF2-40B4-BE49-F238E27FC236}">
                  <a16:creationId xmlns:a16="http://schemas.microsoft.com/office/drawing/2014/main" id="{9C68EA4F-D94C-49FE-9842-FF46DF0E7A9A}"/>
                </a:ext>
              </a:extLst>
            </p:cNvPr>
            <p:cNvSpPr/>
            <p:nvPr/>
          </p:nvSpPr>
          <p:spPr>
            <a:xfrm>
              <a:off x="4450956" y="2285149"/>
              <a:ext cx="353695" cy="418465"/>
            </a:xfrm>
            <a:custGeom>
              <a:avLst/>
              <a:gdLst/>
              <a:ahLst/>
              <a:cxnLst/>
              <a:rect l="l" t="t" r="r" b="b"/>
              <a:pathLst>
                <a:path w="353695" h="418464">
                  <a:moveTo>
                    <a:pt x="181571" y="0"/>
                  </a:moveTo>
                  <a:lnTo>
                    <a:pt x="142193" y="3467"/>
                  </a:lnTo>
                  <a:lnTo>
                    <a:pt x="76056" y="32300"/>
                  </a:lnTo>
                  <a:lnTo>
                    <a:pt x="27732" y="88669"/>
                  </a:lnTo>
                  <a:lnTo>
                    <a:pt x="12325" y="123621"/>
                  </a:lnTo>
                  <a:lnTo>
                    <a:pt x="3081" y="162526"/>
                  </a:lnTo>
                  <a:lnTo>
                    <a:pt x="0" y="205384"/>
                  </a:lnTo>
                  <a:lnTo>
                    <a:pt x="0" y="220268"/>
                  </a:lnTo>
                  <a:lnTo>
                    <a:pt x="3255" y="261360"/>
                  </a:lnTo>
                  <a:lnTo>
                    <a:pt x="13022" y="298681"/>
                  </a:lnTo>
                  <a:lnTo>
                    <a:pt x="52095" y="362026"/>
                  </a:lnTo>
                  <a:lnTo>
                    <a:pt x="112923" y="403888"/>
                  </a:lnTo>
                  <a:lnTo>
                    <a:pt x="149898" y="414354"/>
                  </a:lnTo>
                  <a:lnTo>
                    <a:pt x="191249" y="417842"/>
                  </a:lnTo>
                  <a:lnTo>
                    <a:pt x="215047" y="417004"/>
                  </a:lnTo>
                  <a:lnTo>
                    <a:pt x="259232" y="410304"/>
                  </a:lnTo>
                  <a:lnTo>
                    <a:pt x="298508" y="397352"/>
                  </a:lnTo>
                  <a:lnTo>
                    <a:pt x="344170" y="371322"/>
                  </a:lnTo>
                  <a:lnTo>
                    <a:pt x="328000" y="334492"/>
                  </a:lnTo>
                  <a:lnTo>
                    <a:pt x="202780" y="334492"/>
                  </a:lnTo>
                  <a:lnTo>
                    <a:pt x="183559" y="332887"/>
                  </a:lnTo>
                  <a:lnTo>
                    <a:pt x="138595" y="308825"/>
                  </a:lnTo>
                  <a:lnTo>
                    <a:pt x="114772" y="262355"/>
                  </a:lnTo>
                  <a:lnTo>
                    <a:pt x="111988" y="243331"/>
                  </a:lnTo>
                  <a:lnTo>
                    <a:pt x="112737" y="241109"/>
                  </a:lnTo>
                  <a:lnTo>
                    <a:pt x="353098" y="241109"/>
                  </a:lnTo>
                  <a:lnTo>
                    <a:pt x="353098" y="181940"/>
                  </a:lnTo>
                  <a:lnTo>
                    <a:pt x="352201" y="169290"/>
                  </a:lnTo>
                  <a:lnTo>
                    <a:pt x="113487" y="169290"/>
                  </a:lnTo>
                  <a:lnTo>
                    <a:pt x="112369" y="167436"/>
                  </a:lnTo>
                  <a:lnTo>
                    <a:pt x="126040" y="119223"/>
                  </a:lnTo>
                  <a:lnTo>
                    <a:pt x="154597" y="89482"/>
                  </a:lnTo>
                  <a:lnTo>
                    <a:pt x="181571" y="83718"/>
                  </a:lnTo>
                  <a:lnTo>
                    <a:pt x="331343" y="83718"/>
                  </a:lnTo>
                  <a:lnTo>
                    <a:pt x="327771" y="75835"/>
                  </a:lnTo>
                  <a:lnTo>
                    <a:pt x="308076" y="49110"/>
                  </a:lnTo>
                  <a:lnTo>
                    <a:pt x="283288" y="27624"/>
                  </a:lnTo>
                  <a:lnTo>
                    <a:pt x="253939" y="12277"/>
                  </a:lnTo>
                  <a:lnTo>
                    <a:pt x="220033" y="3069"/>
                  </a:lnTo>
                  <a:lnTo>
                    <a:pt x="181571" y="0"/>
                  </a:lnTo>
                  <a:close/>
                </a:path>
                <a:path w="353695" h="418464">
                  <a:moveTo>
                    <a:pt x="314769" y="304355"/>
                  </a:moveTo>
                  <a:lnTo>
                    <a:pt x="274871" y="323088"/>
                  </a:lnTo>
                  <a:lnTo>
                    <a:pt x="235800" y="332681"/>
                  </a:lnTo>
                  <a:lnTo>
                    <a:pt x="202780" y="334492"/>
                  </a:lnTo>
                  <a:lnTo>
                    <a:pt x="328000" y="334492"/>
                  </a:lnTo>
                  <a:lnTo>
                    <a:pt x="314769" y="304355"/>
                  </a:lnTo>
                  <a:close/>
                </a:path>
                <a:path w="353695" h="418464">
                  <a:moveTo>
                    <a:pt x="331343" y="83718"/>
                  </a:moveTo>
                  <a:lnTo>
                    <a:pt x="181571" y="83718"/>
                  </a:lnTo>
                  <a:lnTo>
                    <a:pt x="196909" y="85009"/>
                  </a:lnTo>
                  <a:lnTo>
                    <a:pt x="210177" y="88880"/>
                  </a:lnTo>
                  <a:lnTo>
                    <a:pt x="237581" y="115565"/>
                  </a:lnTo>
                  <a:lnTo>
                    <a:pt x="246684" y="159626"/>
                  </a:lnTo>
                  <a:lnTo>
                    <a:pt x="246684" y="169290"/>
                  </a:lnTo>
                  <a:lnTo>
                    <a:pt x="352201" y="169290"/>
                  </a:lnTo>
                  <a:lnTo>
                    <a:pt x="350283" y="142249"/>
                  </a:lnTo>
                  <a:lnTo>
                    <a:pt x="341841" y="106881"/>
                  </a:lnTo>
                  <a:lnTo>
                    <a:pt x="331343" y="83718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0" name="object 26">
              <a:extLst>
                <a:ext uri="{FF2B5EF4-FFF2-40B4-BE49-F238E27FC236}">
                  <a16:creationId xmlns:a16="http://schemas.microsoft.com/office/drawing/2014/main" id="{FC80F9CA-95E8-45B9-AA6F-C52F7ABA9131}"/>
                </a:ext>
              </a:extLst>
            </p:cNvPr>
            <p:cNvSpPr/>
            <p:nvPr/>
          </p:nvSpPr>
          <p:spPr>
            <a:xfrm>
              <a:off x="4859489" y="2285161"/>
              <a:ext cx="377825" cy="417830"/>
            </a:xfrm>
            <a:custGeom>
              <a:avLst/>
              <a:gdLst/>
              <a:ahLst/>
              <a:cxnLst/>
              <a:rect l="l" t="t" r="r" b="b"/>
              <a:pathLst>
                <a:path w="377825" h="417830">
                  <a:moveTo>
                    <a:pt x="330280" y="79248"/>
                  </a:moveTo>
                  <a:lnTo>
                    <a:pt x="167805" y="79248"/>
                  </a:lnTo>
                  <a:lnTo>
                    <a:pt x="183171" y="80248"/>
                  </a:lnTo>
                  <a:lnTo>
                    <a:pt x="196540" y="83248"/>
                  </a:lnTo>
                  <a:lnTo>
                    <a:pt x="229846" y="114503"/>
                  </a:lnTo>
                  <a:lnTo>
                    <a:pt x="234035" y="140271"/>
                  </a:lnTo>
                  <a:lnTo>
                    <a:pt x="234035" y="179705"/>
                  </a:lnTo>
                  <a:lnTo>
                    <a:pt x="178587" y="179705"/>
                  </a:lnTo>
                  <a:lnTo>
                    <a:pt x="137337" y="181635"/>
                  </a:lnTo>
                  <a:lnTo>
                    <a:pt x="70738" y="197080"/>
                  </a:lnTo>
                  <a:lnTo>
                    <a:pt x="25529" y="227636"/>
                  </a:lnTo>
                  <a:lnTo>
                    <a:pt x="2836" y="271356"/>
                  </a:lnTo>
                  <a:lnTo>
                    <a:pt x="0" y="298030"/>
                  </a:lnTo>
                  <a:lnTo>
                    <a:pt x="2174" y="324294"/>
                  </a:lnTo>
                  <a:lnTo>
                    <a:pt x="19566" y="368100"/>
                  </a:lnTo>
                  <a:lnTo>
                    <a:pt x="53701" y="399725"/>
                  </a:lnTo>
                  <a:lnTo>
                    <a:pt x="100679" y="415818"/>
                  </a:lnTo>
                  <a:lnTo>
                    <a:pt x="128739" y="417830"/>
                  </a:lnTo>
                  <a:lnTo>
                    <a:pt x="146099" y="416970"/>
                  </a:lnTo>
                  <a:lnTo>
                    <a:pt x="192176" y="404063"/>
                  </a:lnTo>
                  <a:lnTo>
                    <a:pt x="229043" y="378597"/>
                  </a:lnTo>
                  <a:lnTo>
                    <a:pt x="239242" y="367969"/>
                  </a:lnTo>
                  <a:lnTo>
                    <a:pt x="377647" y="367969"/>
                  </a:lnTo>
                  <a:lnTo>
                    <a:pt x="377647" y="344906"/>
                  </a:lnTo>
                  <a:lnTo>
                    <a:pt x="344538" y="340436"/>
                  </a:lnTo>
                  <a:lnTo>
                    <a:pt x="344088" y="337464"/>
                  </a:lnTo>
                  <a:lnTo>
                    <a:pt x="158127" y="337464"/>
                  </a:lnTo>
                  <a:lnTo>
                    <a:pt x="147050" y="336743"/>
                  </a:lnTo>
                  <a:lnTo>
                    <a:pt x="111571" y="312159"/>
                  </a:lnTo>
                  <a:lnTo>
                    <a:pt x="108267" y="293928"/>
                  </a:lnTo>
                  <a:lnTo>
                    <a:pt x="109384" y="282989"/>
                  </a:lnTo>
                  <a:lnTo>
                    <a:pt x="136103" y="247969"/>
                  </a:lnTo>
                  <a:lnTo>
                    <a:pt x="178587" y="238861"/>
                  </a:lnTo>
                  <a:lnTo>
                    <a:pt x="343052" y="238861"/>
                  </a:lnTo>
                  <a:lnTo>
                    <a:pt x="342985" y="140271"/>
                  </a:lnTo>
                  <a:lnTo>
                    <a:pt x="340133" y="109094"/>
                  </a:lnTo>
                  <a:lnTo>
                    <a:pt x="331376" y="81060"/>
                  </a:lnTo>
                  <a:lnTo>
                    <a:pt x="330280" y="79248"/>
                  </a:lnTo>
                  <a:close/>
                </a:path>
                <a:path w="377825" h="417830">
                  <a:moveTo>
                    <a:pt x="377647" y="367969"/>
                  </a:moveTo>
                  <a:lnTo>
                    <a:pt x="239242" y="367969"/>
                  </a:lnTo>
                  <a:lnTo>
                    <a:pt x="240474" y="375170"/>
                  </a:lnTo>
                  <a:lnTo>
                    <a:pt x="242214" y="382295"/>
                  </a:lnTo>
                  <a:lnTo>
                    <a:pt x="246760" y="396643"/>
                  </a:lnTo>
                  <a:lnTo>
                    <a:pt x="249288" y="403326"/>
                  </a:lnTo>
                  <a:lnTo>
                    <a:pt x="252260" y="410019"/>
                  </a:lnTo>
                  <a:lnTo>
                    <a:pt x="377647" y="410019"/>
                  </a:lnTo>
                  <a:lnTo>
                    <a:pt x="377647" y="367969"/>
                  </a:lnTo>
                  <a:close/>
                </a:path>
                <a:path w="377825" h="417830">
                  <a:moveTo>
                    <a:pt x="343052" y="238861"/>
                  </a:moveTo>
                  <a:lnTo>
                    <a:pt x="234035" y="238861"/>
                  </a:lnTo>
                  <a:lnTo>
                    <a:pt x="234035" y="300253"/>
                  </a:lnTo>
                  <a:lnTo>
                    <a:pt x="227894" y="307916"/>
                  </a:lnTo>
                  <a:lnTo>
                    <a:pt x="192453" y="331501"/>
                  </a:lnTo>
                  <a:lnTo>
                    <a:pt x="158127" y="337464"/>
                  </a:lnTo>
                  <a:lnTo>
                    <a:pt x="344088" y="337464"/>
                  </a:lnTo>
                  <a:lnTo>
                    <a:pt x="343789" y="335483"/>
                  </a:lnTo>
                  <a:lnTo>
                    <a:pt x="343357" y="330276"/>
                  </a:lnTo>
                  <a:lnTo>
                    <a:pt x="343146" y="321218"/>
                  </a:lnTo>
                  <a:lnTo>
                    <a:pt x="343052" y="238861"/>
                  </a:lnTo>
                  <a:close/>
                </a:path>
                <a:path w="377825" h="417830">
                  <a:moveTo>
                    <a:pt x="174866" y="0"/>
                  </a:moveTo>
                  <a:lnTo>
                    <a:pt x="131198" y="3440"/>
                  </a:lnTo>
                  <a:lnTo>
                    <a:pt x="90970" y="13766"/>
                  </a:lnTo>
                  <a:lnTo>
                    <a:pt x="54641" y="29109"/>
                  </a:lnTo>
                  <a:lnTo>
                    <a:pt x="22326" y="136918"/>
                  </a:lnTo>
                  <a:lnTo>
                    <a:pt x="104178" y="136918"/>
                  </a:lnTo>
                  <a:lnTo>
                    <a:pt x="111252" y="93764"/>
                  </a:lnTo>
                  <a:lnTo>
                    <a:pt x="116061" y="90887"/>
                  </a:lnTo>
                  <a:lnTo>
                    <a:pt x="158756" y="79514"/>
                  </a:lnTo>
                  <a:lnTo>
                    <a:pt x="167805" y="79248"/>
                  </a:lnTo>
                  <a:lnTo>
                    <a:pt x="330280" y="79248"/>
                  </a:lnTo>
                  <a:lnTo>
                    <a:pt x="316783" y="56908"/>
                  </a:lnTo>
                  <a:lnTo>
                    <a:pt x="296354" y="36639"/>
                  </a:lnTo>
                  <a:lnTo>
                    <a:pt x="271251" y="20611"/>
                  </a:lnTo>
                  <a:lnTo>
                    <a:pt x="242635" y="9161"/>
                  </a:lnTo>
                  <a:lnTo>
                    <a:pt x="210506" y="2290"/>
                  </a:lnTo>
                  <a:lnTo>
                    <a:pt x="174866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27">
              <a:extLst>
                <a:ext uri="{FF2B5EF4-FFF2-40B4-BE49-F238E27FC236}">
                  <a16:creationId xmlns:a16="http://schemas.microsoft.com/office/drawing/2014/main" id="{3A734934-CB06-4BA5-8F0B-84801251B628}"/>
                </a:ext>
              </a:extLst>
            </p:cNvPr>
            <p:cNvSpPr/>
            <p:nvPr/>
          </p:nvSpPr>
          <p:spPr>
            <a:xfrm>
              <a:off x="5261318" y="2285161"/>
              <a:ext cx="687070" cy="410209"/>
            </a:xfrm>
            <a:custGeom>
              <a:avLst/>
              <a:gdLst/>
              <a:ahLst/>
              <a:cxnLst/>
              <a:rect l="l" t="t" r="r" b="b"/>
              <a:pathLst>
                <a:path w="687070" h="410210">
                  <a:moveTo>
                    <a:pt x="158877" y="7442"/>
                  </a:moveTo>
                  <a:lnTo>
                    <a:pt x="0" y="7442"/>
                  </a:lnTo>
                  <a:lnTo>
                    <a:pt x="0" y="72923"/>
                  </a:lnTo>
                  <a:lnTo>
                    <a:pt x="58039" y="84086"/>
                  </a:lnTo>
                  <a:lnTo>
                    <a:pt x="58039" y="333743"/>
                  </a:lnTo>
                  <a:lnTo>
                    <a:pt x="5575" y="344906"/>
                  </a:lnTo>
                  <a:lnTo>
                    <a:pt x="5575" y="410019"/>
                  </a:lnTo>
                  <a:lnTo>
                    <a:pt x="213194" y="410019"/>
                  </a:lnTo>
                  <a:lnTo>
                    <a:pt x="213194" y="344906"/>
                  </a:lnTo>
                  <a:lnTo>
                    <a:pt x="166319" y="333743"/>
                  </a:lnTo>
                  <a:lnTo>
                    <a:pt x="166319" y="116458"/>
                  </a:lnTo>
                  <a:lnTo>
                    <a:pt x="202277" y="89164"/>
                  </a:lnTo>
                  <a:lnTo>
                    <a:pt x="622207" y="84454"/>
                  </a:lnTo>
                  <a:lnTo>
                    <a:pt x="616336" y="68833"/>
                  </a:lnTo>
                  <a:lnTo>
                    <a:pt x="387324" y="68833"/>
                  </a:lnTo>
                  <a:lnTo>
                    <a:pt x="383330" y="60642"/>
                  </a:lnTo>
                  <a:lnTo>
                    <a:pt x="163334" y="60642"/>
                  </a:lnTo>
                  <a:lnTo>
                    <a:pt x="158877" y="7442"/>
                  </a:lnTo>
                  <a:close/>
                </a:path>
                <a:path w="687070" h="410210">
                  <a:moveTo>
                    <a:pt x="466204" y="84454"/>
                  </a:moveTo>
                  <a:lnTo>
                    <a:pt x="232168" y="84454"/>
                  </a:lnTo>
                  <a:lnTo>
                    <a:pt x="246125" y="85607"/>
                  </a:lnTo>
                  <a:lnTo>
                    <a:pt x="258219" y="89061"/>
                  </a:lnTo>
                  <a:lnTo>
                    <a:pt x="287986" y="127863"/>
                  </a:lnTo>
                  <a:lnTo>
                    <a:pt x="291706" y="165938"/>
                  </a:lnTo>
                  <a:lnTo>
                    <a:pt x="291706" y="333743"/>
                  </a:lnTo>
                  <a:lnTo>
                    <a:pt x="247802" y="344906"/>
                  </a:lnTo>
                  <a:lnTo>
                    <a:pt x="247802" y="410019"/>
                  </a:lnTo>
                  <a:lnTo>
                    <a:pt x="443877" y="410019"/>
                  </a:lnTo>
                  <a:lnTo>
                    <a:pt x="443877" y="344906"/>
                  </a:lnTo>
                  <a:lnTo>
                    <a:pt x="399973" y="333743"/>
                  </a:lnTo>
                  <a:lnTo>
                    <a:pt x="399846" y="138595"/>
                  </a:lnTo>
                  <a:lnTo>
                    <a:pt x="399351" y="131902"/>
                  </a:lnTo>
                  <a:lnTo>
                    <a:pt x="399237" y="123151"/>
                  </a:lnTo>
                  <a:lnTo>
                    <a:pt x="404687" y="114536"/>
                  </a:lnTo>
                  <a:lnTo>
                    <a:pt x="435055" y="90214"/>
                  </a:lnTo>
                  <a:lnTo>
                    <a:pt x="455053" y="85095"/>
                  </a:lnTo>
                  <a:lnTo>
                    <a:pt x="466204" y="84454"/>
                  </a:lnTo>
                  <a:close/>
                </a:path>
                <a:path w="687070" h="410210">
                  <a:moveTo>
                    <a:pt x="622207" y="84454"/>
                  </a:moveTo>
                  <a:lnTo>
                    <a:pt x="466204" y="84454"/>
                  </a:lnTo>
                  <a:lnTo>
                    <a:pt x="479994" y="85571"/>
                  </a:lnTo>
                  <a:lnTo>
                    <a:pt x="491969" y="88920"/>
                  </a:lnTo>
                  <a:lnTo>
                    <a:pt x="521642" y="127152"/>
                  </a:lnTo>
                  <a:lnTo>
                    <a:pt x="525360" y="165938"/>
                  </a:lnTo>
                  <a:lnTo>
                    <a:pt x="525360" y="333743"/>
                  </a:lnTo>
                  <a:lnTo>
                    <a:pt x="478485" y="344906"/>
                  </a:lnTo>
                  <a:lnTo>
                    <a:pt x="478485" y="410019"/>
                  </a:lnTo>
                  <a:lnTo>
                    <a:pt x="686473" y="410019"/>
                  </a:lnTo>
                  <a:lnTo>
                    <a:pt x="686473" y="344906"/>
                  </a:lnTo>
                  <a:lnTo>
                    <a:pt x="634009" y="333743"/>
                  </a:lnTo>
                  <a:lnTo>
                    <a:pt x="633988" y="165938"/>
                  </a:lnTo>
                  <a:lnTo>
                    <a:pt x="631858" y="126954"/>
                  </a:lnTo>
                  <a:lnTo>
                    <a:pt x="625406" y="92965"/>
                  </a:lnTo>
                  <a:lnTo>
                    <a:pt x="622207" y="84454"/>
                  </a:lnTo>
                  <a:close/>
                </a:path>
                <a:path w="687070" h="410210">
                  <a:moveTo>
                    <a:pt x="505637" y="0"/>
                  </a:moveTo>
                  <a:lnTo>
                    <a:pt x="451174" y="10277"/>
                  </a:lnTo>
                  <a:lnTo>
                    <a:pt x="408720" y="39995"/>
                  </a:lnTo>
                  <a:lnTo>
                    <a:pt x="387324" y="68833"/>
                  </a:lnTo>
                  <a:lnTo>
                    <a:pt x="616336" y="68833"/>
                  </a:lnTo>
                  <a:lnTo>
                    <a:pt x="580811" y="23124"/>
                  </a:lnTo>
                  <a:lnTo>
                    <a:pt x="533834" y="2569"/>
                  </a:lnTo>
                  <a:lnTo>
                    <a:pt x="505637" y="0"/>
                  </a:lnTo>
                  <a:close/>
                </a:path>
                <a:path w="687070" h="410210">
                  <a:moveTo>
                    <a:pt x="279425" y="0"/>
                  </a:moveTo>
                  <a:lnTo>
                    <a:pt x="227070" y="8893"/>
                  </a:lnTo>
                  <a:lnTo>
                    <a:pt x="185150" y="34926"/>
                  </a:lnTo>
                  <a:lnTo>
                    <a:pt x="163334" y="60642"/>
                  </a:lnTo>
                  <a:lnTo>
                    <a:pt x="383330" y="60642"/>
                  </a:lnTo>
                  <a:lnTo>
                    <a:pt x="358583" y="26760"/>
                  </a:lnTo>
                  <a:lnTo>
                    <a:pt x="315326" y="4276"/>
                  </a:lnTo>
                  <a:lnTo>
                    <a:pt x="279425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2" name="object 28">
              <a:extLst>
                <a:ext uri="{FF2B5EF4-FFF2-40B4-BE49-F238E27FC236}">
                  <a16:creationId xmlns:a16="http://schemas.microsoft.com/office/drawing/2014/main" id="{1C5CC04C-FD41-4F69-B79F-090BB2BDB4CC}"/>
                </a:ext>
              </a:extLst>
            </p:cNvPr>
            <p:cNvSpPr/>
            <p:nvPr/>
          </p:nvSpPr>
          <p:spPr>
            <a:xfrm>
              <a:off x="5973838" y="2114753"/>
              <a:ext cx="219075" cy="581025"/>
            </a:xfrm>
            <a:custGeom>
              <a:avLst/>
              <a:gdLst/>
              <a:ahLst/>
              <a:cxnLst/>
              <a:rect l="l" t="t" r="r" b="b"/>
              <a:pathLst>
                <a:path w="219075" h="581025">
                  <a:moveTo>
                    <a:pt x="166687" y="0"/>
                  </a:moveTo>
                  <a:lnTo>
                    <a:pt x="58038" y="0"/>
                  </a:lnTo>
                  <a:lnTo>
                    <a:pt x="58038" y="81483"/>
                  </a:lnTo>
                  <a:lnTo>
                    <a:pt x="166687" y="81483"/>
                  </a:lnTo>
                  <a:lnTo>
                    <a:pt x="166687" y="0"/>
                  </a:lnTo>
                  <a:close/>
                </a:path>
                <a:path w="219075" h="581025">
                  <a:moveTo>
                    <a:pt x="166687" y="177850"/>
                  </a:moveTo>
                  <a:lnTo>
                    <a:pt x="0" y="177850"/>
                  </a:lnTo>
                  <a:lnTo>
                    <a:pt x="0" y="243332"/>
                  </a:lnTo>
                  <a:lnTo>
                    <a:pt x="58039" y="254495"/>
                  </a:lnTo>
                  <a:lnTo>
                    <a:pt x="58039" y="504151"/>
                  </a:lnTo>
                  <a:lnTo>
                    <a:pt x="5575" y="515315"/>
                  </a:lnTo>
                  <a:lnTo>
                    <a:pt x="5575" y="580428"/>
                  </a:lnTo>
                  <a:lnTo>
                    <a:pt x="218770" y="580428"/>
                  </a:lnTo>
                  <a:lnTo>
                    <a:pt x="218770" y="515315"/>
                  </a:lnTo>
                  <a:lnTo>
                    <a:pt x="166687" y="504151"/>
                  </a:lnTo>
                  <a:lnTo>
                    <a:pt x="166687" y="17785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3" name="object 29">
              <a:extLst>
                <a:ext uri="{FF2B5EF4-FFF2-40B4-BE49-F238E27FC236}">
                  <a16:creationId xmlns:a16="http://schemas.microsoft.com/office/drawing/2014/main" id="{BCEE41FA-47BA-4FC0-B59E-774E1F0777CA}"/>
                </a:ext>
              </a:extLst>
            </p:cNvPr>
            <p:cNvSpPr/>
            <p:nvPr/>
          </p:nvSpPr>
          <p:spPr>
            <a:xfrm>
              <a:off x="6216802" y="2285161"/>
              <a:ext cx="461009" cy="410209"/>
            </a:xfrm>
            <a:custGeom>
              <a:avLst/>
              <a:gdLst/>
              <a:ahLst/>
              <a:cxnLst/>
              <a:rect l="l" t="t" r="r" b="b"/>
              <a:pathLst>
                <a:path w="461009" h="410210">
                  <a:moveTo>
                    <a:pt x="158864" y="7442"/>
                  </a:moveTo>
                  <a:lnTo>
                    <a:pt x="0" y="7442"/>
                  </a:lnTo>
                  <a:lnTo>
                    <a:pt x="0" y="72923"/>
                  </a:lnTo>
                  <a:lnTo>
                    <a:pt x="57670" y="84086"/>
                  </a:lnTo>
                  <a:lnTo>
                    <a:pt x="57670" y="333743"/>
                  </a:lnTo>
                  <a:lnTo>
                    <a:pt x="5575" y="344906"/>
                  </a:lnTo>
                  <a:lnTo>
                    <a:pt x="5575" y="410019"/>
                  </a:lnTo>
                  <a:lnTo>
                    <a:pt x="210210" y="410019"/>
                  </a:lnTo>
                  <a:lnTo>
                    <a:pt x="210210" y="344906"/>
                  </a:lnTo>
                  <a:lnTo>
                    <a:pt x="166306" y="333743"/>
                  </a:lnTo>
                  <a:lnTo>
                    <a:pt x="166306" y="117944"/>
                  </a:lnTo>
                  <a:lnTo>
                    <a:pt x="203797" y="89378"/>
                  </a:lnTo>
                  <a:lnTo>
                    <a:pt x="233654" y="84455"/>
                  </a:lnTo>
                  <a:lnTo>
                    <a:pt x="398770" y="84455"/>
                  </a:lnTo>
                  <a:lnTo>
                    <a:pt x="391196" y="65112"/>
                  </a:lnTo>
                  <a:lnTo>
                    <a:pt x="163703" y="65112"/>
                  </a:lnTo>
                  <a:lnTo>
                    <a:pt x="158864" y="7442"/>
                  </a:lnTo>
                  <a:close/>
                </a:path>
                <a:path w="461009" h="410210">
                  <a:moveTo>
                    <a:pt x="398770" y="84455"/>
                  </a:moveTo>
                  <a:lnTo>
                    <a:pt x="233654" y="84455"/>
                  </a:lnTo>
                  <a:lnTo>
                    <a:pt x="249163" y="85514"/>
                  </a:lnTo>
                  <a:lnTo>
                    <a:pt x="262580" y="88690"/>
                  </a:lnTo>
                  <a:lnTo>
                    <a:pt x="295421" y="124225"/>
                  </a:lnTo>
                  <a:lnTo>
                    <a:pt x="299516" y="333743"/>
                  </a:lnTo>
                  <a:lnTo>
                    <a:pt x="252996" y="344906"/>
                  </a:lnTo>
                  <a:lnTo>
                    <a:pt x="252996" y="410019"/>
                  </a:lnTo>
                  <a:lnTo>
                    <a:pt x="460616" y="410019"/>
                  </a:lnTo>
                  <a:lnTo>
                    <a:pt x="460616" y="344906"/>
                  </a:lnTo>
                  <a:lnTo>
                    <a:pt x="408533" y="333743"/>
                  </a:lnTo>
                  <a:lnTo>
                    <a:pt x="408533" y="158496"/>
                  </a:lnTo>
                  <a:lnTo>
                    <a:pt x="406393" y="120288"/>
                  </a:lnTo>
                  <a:lnTo>
                    <a:pt x="399972" y="87523"/>
                  </a:lnTo>
                  <a:lnTo>
                    <a:pt x="398770" y="84455"/>
                  </a:lnTo>
                  <a:close/>
                </a:path>
                <a:path w="461009" h="410210">
                  <a:moveTo>
                    <a:pt x="279044" y="0"/>
                  </a:moveTo>
                  <a:lnTo>
                    <a:pt x="228332" y="9622"/>
                  </a:lnTo>
                  <a:lnTo>
                    <a:pt x="186124" y="37671"/>
                  </a:lnTo>
                  <a:lnTo>
                    <a:pt x="163703" y="65112"/>
                  </a:lnTo>
                  <a:lnTo>
                    <a:pt x="391196" y="65112"/>
                  </a:lnTo>
                  <a:lnTo>
                    <a:pt x="355503" y="21554"/>
                  </a:lnTo>
                  <a:lnTo>
                    <a:pt x="307878" y="2395"/>
                  </a:lnTo>
                  <a:lnTo>
                    <a:pt x="279044" y="0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4" name="object 30">
              <a:extLst>
                <a:ext uri="{FF2B5EF4-FFF2-40B4-BE49-F238E27FC236}">
                  <a16:creationId xmlns:a16="http://schemas.microsoft.com/office/drawing/2014/main" id="{E3A8843F-E62A-4843-909B-0858464318BB}"/>
                </a:ext>
              </a:extLst>
            </p:cNvPr>
            <p:cNvSpPr/>
            <p:nvPr/>
          </p:nvSpPr>
          <p:spPr>
            <a:xfrm>
              <a:off x="6714997" y="2285161"/>
              <a:ext cx="363855" cy="572770"/>
            </a:xfrm>
            <a:custGeom>
              <a:avLst/>
              <a:gdLst/>
              <a:ahLst/>
              <a:cxnLst/>
              <a:rect l="l" t="t" r="r" b="b"/>
              <a:pathLst>
                <a:path w="363854" h="572769">
                  <a:moveTo>
                    <a:pt x="68097" y="465086"/>
                  </a:moveTo>
                  <a:lnTo>
                    <a:pt x="48005" y="541350"/>
                  </a:lnTo>
                  <a:lnTo>
                    <a:pt x="62838" y="548224"/>
                  </a:lnTo>
                  <a:lnTo>
                    <a:pt x="78324" y="554331"/>
                  </a:lnTo>
                  <a:lnTo>
                    <a:pt x="128135" y="567900"/>
                  </a:lnTo>
                  <a:lnTo>
                    <a:pt x="175996" y="572604"/>
                  </a:lnTo>
                  <a:lnTo>
                    <a:pt x="217378" y="569640"/>
                  </a:lnTo>
                  <a:lnTo>
                    <a:pt x="286115" y="545922"/>
                  </a:lnTo>
                  <a:lnTo>
                    <a:pt x="335367" y="499440"/>
                  </a:lnTo>
                  <a:lnTo>
                    <a:pt x="340714" y="489267"/>
                  </a:lnTo>
                  <a:lnTo>
                    <a:pt x="175247" y="489267"/>
                  </a:lnTo>
                  <a:lnTo>
                    <a:pt x="160924" y="488860"/>
                  </a:lnTo>
                  <a:lnTo>
                    <a:pt x="120180" y="482752"/>
                  </a:lnTo>
                  <a:lnTo>
                    <a:pt x="81118" y="470375"/>
                  </a:lnTo>
                  <a:lnTo>
                    <a:pt x="68097" y="465086"/>
                  </a:lnTo>
                  <a:close/>
                </a:path>
                <a:path w="363854" h="572769">
                  <a:moveTo>
                    <a:pt x="363512" y="371322"/>
                  </a:moveTo>
                  <a:lnTo>
                    <a:pt x="254495" y="371322"/>
                  </a:lnTo>
                  <a:lnTo>
                    <a:pt x="254401" y="399290"/>
                  </a:lnTo>
                  <a:lnTo>
                    <a:pt x="253263" y="418134"/>
                  </a:lnTo>
                  <a:lnTo>
                    <a:pt x="234784" y="465086"/>
                  </a:lnTo>
                  <a:lnTo>
                    <a:pt x="193897" y="487755"/>
                  </a:lnTo>
                  <a:lnTo>
                    <a:pt x="175247" y="489267"/>
                  </a:lnTo>
                  <a:lnTo>
                    <a:pt x="340714" y="489267"/>
                  </a:lnTo>
                  <a:lnTo>
                    <a:pt x="351004" y="469687"/>
                  </a:lnTo>
                  <a:lnTo>
                    <a:pt x="360385" y="435909"/>
                  </a:lnTo>
                  <a:lnTo>
                    <a:pt x="363414" y="399290"/>
                  </a:lnTo>
                  <a:lnTo>
                    <a:pt x="363512" y="371322"/>
                  </a:lnTo>
                  <a:close/>
                </a:path>
                <a:path w="363854" h="572769">
                  <a:moveTo>
                    <a:pt x="157759" y="0"/>
                  </a:moveTo>
                  <a:lnTo>
                    <a:pt x="91300" y="14601"/>
                  </a:lnTo>
                  <a:lnTo>
                    <a:pt x="41490" y="58407"/>
                  </a:lnTo>
                  <a:lnTo>
                    <a:pt x="10372" y="126036"/>
                  </a:lnTo>
                  <a:lnTo>
                    <a:pt x="2593" y="166754"/>
                  </a:lnTo>
                  <a:lnTo>
                    <a:pt x="0" y="212077"/>
                  </a:lnTo>
                  <a:lnTo>
                    <a:pt x="0" y="219887"/>
                  </a:lnTo>
                  <a:lnTo>
                    <a:pt x="2593" y="262200"/>
                  </a:lnTo>
                  <a:lnTo>
                    <a:pt x="10372" y="300210"/>
                  </a:lnTo>
                  <a:lnTo>
                    <a:pt x="41490" y="363321"/>
                  </a:lnTo>
                  <a:lnTo>
                    <a:pt x="91117" y="404201"/>
                  </a:lnTo>
                  <a:lnTo>
                    <a:pt x="157022" y="417829"/>
                  </a:lnTo>
                  <a:lnTo>
                    <a:pt x="172203" y="417084"/>
                  </a:lnTo>
                  <a:lnTo>
                    <a:pt x="212458" y="405917"/>
                  </a:lnTo>
                  <a:lnTo>
                    <a:pt x="245173" y="381992"/>
                  </a:lnTo>
                  <a:lnTo>
                    <a:pt x="254495" y="371322"/>
                  </a:lnTo>
                  <a:lnTo>
                    <a:pt x="363512" y="371322"/>
                  </a:lnTo>
                  <a:lnTo>
                    <a:pt x="363512" y="333374"/>
                  </a:lnTo>
                  <a:lnTo>
                    <a:pt x="184556" y="333374"/>
                  </a:lnTo>
                  <a:lnTo>
                    <a:pt x="165856" y="331479"/>
                  </a:lnTo>
                  <a:lnTo>
                    <a:pt x="126504" y="303047"/>
                  </a:lnTo>
                  <a:lnTo>
                    <a:pt x="113114" y="267092"/>
                  </a:lnTo>
                  <a:lnTo>
                    <a:pt x="108648" y="219887"/>
                  </a:lnTo>
                  <a:lnTo>
                    <a:pt x="108648" y="212077"/>
                  </a:lnTo>
                  <a:lnTo>
                    <a:pt x="113250" y="160542"/>
                  </a:lnTo>
                  <a:lnTo>
                    <a:pt x="127063" y="119799"/>
                  </a:lnTo>
                  <a:lnTo>
                    <a:pt x="166723" y="86664"/>
                  </a:lnTo>
                  <a:lnTo>
                    <a:pt x="185292" y="84454"/>
                  </a:lnTo>
                  <a:lnTo>
                    <a:pt x="363512" y="84454"/>
                  </a:lnTo>
                  <a:lnTo>
                    <a:pt x="363512" y="58038"/>
                  </a:lnTo>
                  <a:lnTo>
                    <a:pt x="261200" y="58038"/>
                  </a:lnTo>
                  <a:lnTo>
                    <a:pt x="251619" y="44887"/>
                  </a:lnTo>
                  <a:lnTo>
                    <a:pt x="241106" y="33340"/>
                  </a:lnTo>
                  <a:lnTo>
                    <a:pt x="203947" y="8470"/>
                  </a:lnTo>
                  <a:lnTo>
                    <a:pt x="174180" y="940"/>
                  </a:lnTo>
                  <a:lnTo>
                    <a:pt x="157759" y="0"/>
                  </a:lnTo>
                  <a:close/>
                </a:path>
                <a:path w="363854" h="572769">
                  <a:moveTo>
                    <a:pt x="363512" y="84454"/>
                  </a:moveTo>
                  <a:lnTo>
                    <a:pt x="185292" y="84454"/>
                  </a:lnTo>
                  <a:lnTo>
                    <a:pt x="196958" y="85083"/>
                  </a:lnTo>
                  <a:lnTo>
                    <a:pt x="207762" y="86968"/>
                  </a:lnTo>
                  <a:lnTo>
                    <a:pt x="242363" y="106589"/>
                  </a:lnTo>
                  <a:lnTo>
                    <a:pt x="254495" y="122783"/>
                  </a:lnTo>
                  <a:lnTo>
                    <a:pt x="254495" y="297649"/>
                  </a:lnTo>
                  <a:lnTo>
                    <a:pt x="226783" y="324256"/>
                  </a:lnTo>
                  <a:lnTo>
                    <a:pt x="184556" y="333374"/>
                  </a:lnTo>
                  <a:lnTo>
                    <a:pt x="363512" y="333374"/>
                  </a:lnTo>
                  <a:lnTo>
                    <a:pt x="363512" y="84454"/>
                  </a:lnTo>
                  <a:close/>
                </a:path>
                <a:path w="363854" h="572769">
                  <a:moveTo>
                    <a:pt x="363512" y="7429"/>
                  </a:moveTo>
                  <a:lnTo>
                    <a:pt x="269011" y="7429"/>
                  </a:lnTo>
                  <a:lnTo>
                    <a:pt x="261200" y="58038"/>
                  </a:lnTo>
                  <a:lnTo>
                    <a:pt x="363512" y="58038"/>
                  </a:lnTo>
                  <a:lnTo>
                    <a:pt x="363512" y="7429"/>
                  </a:lnTo>
                  <a:close/>
                </a:path>
              </a:pathLst>
            </a:custGeom>
            <a:solidFill>
              <a:srgbClr val="3939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6" name="object 59">
            <a:extLst>
              <a:ext uri="{FF2B5EF4-FFF2-40B4-BE49-F238E27FC236}">
                <a16:creationId xmlns:a16="http://schemas.microsoft.com/office/drawing/2014/main" id="{11365B55-1126-40A3-908E-BE8206BA843D}"/>
              </a:ext>
            </a:extLst>
          </p:cNvPr>
          <p:cNvSpPr/>
          <p:nvPr/>
        </p:nvSpPr>
        <p:spPr>
          <a:xfrm>
            <a:off x="868198" y="437724"/>
            <a:ext cx="3200400" cy="57869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41026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6575" y="1706314"/>
            <a:ext cx="51661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Tiktok Shopp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68EF8E-2FF1-481F-8628-3C7517C73B5B}"/>
              </a:ext>
            </a:extLst>
          </p:cNvPr>
          <p:cNvSpPr txBox="1"/>
          <p:nvPr/>
        </p:nvSpPr>
        <p:spPr>
          <a:xfrm>
            <a:off x="536575" y="2535167"/>
            <a:ext cx="417307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Commerce featu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lowing users to shop for products without leaving the ap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dedicated shopping tab on the profile marked by a small bag</a:t>
            </a:r>
          </a:p>
        </p:txBody>
      </p:sp>
      <p:pic>
        <p:nvPicPr>
          <p:cNvPr id="2050" name="Picture 2" descr="Ulta Beauty on TikTok">
            <a:extLst>
              <a:ext uri="{FF2B5EF4-FFF2-40B4-BE49-F238E27FC236}">
                <a16:creationId xmlns:a16="http://schemas.microsoft.com/office/drawing/2014/main" id="{7C50FAC6-A1E6-EAB4-3C2D-8FC7A8951D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19" r="20717"/>
          <a:stretch/>
        </p:blipFill>
        <p:spPr bwMode="auto">
          <a:xfrm>
            <a:off x="5196350" y="1117600"/>
            <a:ext cx="2684207" cy="4622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71675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6575" y="1706314"/>
            <a:ext cx="51661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How TikTok Algorithm Work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68EF8E-2FF1-481F-8628-3C7517C73B5B}"/>
              </a:ext>
            </a:extLst>
          </p:cNvPr>
          <p:cNvSpPr txBox="1"/>
          <p:nvPr/>
        </p:nvSpPr>
        <p:spPr>
          <a:xfrm>
            <a:off x="536574" y="2157425"/>
            <a:ext cx="797816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t shows </a:t>
            </a:r>
            <a:r>
              <a:rPr lang="en-US" sz="14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user content they are most interested in based on previous engagement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F845A4-0EA6-7AAE-D7AD-2485B05FDF1C}"/>
              </a:ext>
            </a:extLst>
          </p:cNvPr>
          <p:cNvSpPr txBox="1"/>
          <p:nvPr/>
        </p:nvSpPr>
        <p:spPr>
          <a:xfrm>
            <a:off x="536574" y="2673201"/>
            <a:ext cx="778151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ent you like, share, comment on, re-watch, and complete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shtags and captions you engage with (or include in your own content)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ubject matter you search for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ending audio on videos you engage with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ccount settings like language preferences, device type, and posting location.</a:t>
            </a:r>
          </a:p>
        </p:txBody>
      </p:sp>
    </p:spTree>
    <p:extLst>
      <p:ext uri="{BB962C8B-B14F-4D97-AF65-F5344CB8AC3E}">
        <p14:creationId xmlns:p14="http://schemas.microsoft.com/office/powerpoint/2010/main" val="20839600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369932" y="3028890"/>
            <a:ext cx="51661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90292A"/>
                </a:solidFill>
                <a:latin typeface="Georgia" panose="02040502050405020303" pitchFamily="18" charset="0"/>
              </a:rPr>
              <a:t>Tips to Succeed on TikTok</a:t>
            </a:r>
          </a:p>
        </p:txBody>
      </p:sp>
    </p:spTree>
    <p:extLst>
      <p:ext uri="{BB962C8B-B14F-4D97-AF65-F5344CB8AC3E}">
        <p14:creationId xmlns:p14="http://schemas.microsoft.com/office/powerpoint/2010/main" val="7157801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41375" y="1505137"/>
            <a:ext cx="51661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1. Share User-Generated Content (UGC)</a:t>
            </a:r>
          </a:p>
          <a:p>
            <a:endParaRPr lang="en-US" sz="2000" b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F845A4-0EA6-7AAE-D7AD-2485B05FDF1C}"/>
              </a:ext>
            </a:extLst>
          </p:cNvPr>
          <p:cNvSpPr txBox="1"/>
          <p:nvPr/>
        </p:nvSpPr>
        <p:spPr>
          <a:xfrm>
            <a:off x="697556" y="2683712"/>
            <a:ext cx="7781515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ourage customers to tag you in their social media post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’ve created a branded hashtag for your business, be sure to check it for tagged content from users as well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e content from users that you’d like to repost on your own profile. As you repost UGC, be sure to give credit to the original creator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yond simply reposting already-made videos, you can also consider responding to UGC using Duets or Stitching. Duets let you respond by cutting the screen in half, so your response plays side-by-side with the original video.</a:t>
            </a:r>
          </a:p>
        </p:txBody>
      </p:sp>
    </p:spTree>
    <p:extLst>
      <p:ext uri="{BB962C8B-B14F-4D97-AF65-F5344CB8AC3E}">
        <p14:creationId xmlns:p14="http://schemas.microsoft.com/office/powerpoint/2010/main" val="3079478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41374" y="1536228"/>
            <a:ext cx="41927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Why Market on Tiktok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68EF8E-2FF1-481F-8628-3C7517C73B5B}"/>
              </a:ext>
            </a:extLst>
          </p:cNvPr>
          <p:cNvSpPr txBox="1"/>
          <p:nvPr/>
        </p:nvSpPr>
        <p:spPr>
          <a:xfrm>
            <a:off x="841374" y="2409943"/>
            <a:ext cx="45720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crease brand awarenes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uild engaged communiti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ll products and servic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et feedback from customers and audienc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vide customer servic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vertise products and services to target audiences</a:t>
            </a:r>
          </a:p>
        </p:txBody>
      </p:sp>
      <p:sp>
        <p:nvSpPr>
          <p:cNvPr id="14" name="object 12">
            <a:extLst>
              <a:ext uri="{FF2B5EF4-FFF2-40B4-BE49-F238E27FC236}">
                <a16:creationId xmlns:a16="http://schemas.microsoft.com/office/drawing/2014/main" id="{EE3368B7-6B85-464F-B355-8329807329C2}"/>
              </a:ext>
            </a:extLst>
          </p:cNvPr>
          <p:cNvSpPr/>
          <p:nvPr/>
        </p:nvSpPr>
        <p:spPr>
          <a:xfrm>
            <a:off x="5928852" y="1251093"/>
            <a:ext cx="2286000" cy="413358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26464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418488-86E1-C264-1B58-3CBE4A93BEE6}"/>
              </a:ext>
            </a:extLst>
          </p:cNvPr>
          <p:cNvSpPr txBox="1"/>
          <p:nvPr/>
        </p:nvSpPr>
        <p:spPr>
          <a:xfrm>
            <a:off x="841375" y="1265170"/>
            <a:ext cx="495545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2. Build Relationships with Influenc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09162B-C48B-C3F1-73A6-A41D740A8ECF}"/>
              </a:ext>
            </a:extLst>
          </p:cNvPr>
          <p:cNvSpPr txBox="1"/>
          <p:nvPr/>
        </p:nvSpPr>
        <p:spPr>
          <a:xfrm>
            <a:off x="679860" y="2125457"/>
            <a:ext cx="5956914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uencers are extremely popular on TikTok. About 25% of all content on TikTok features either a celebrity or influenc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content creators can generate a lot of buzz for your brand by sharing your products with their own audien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helps expand the reach of your marketing efforts and can give you an algorithmic boost by placing your products and services in front of more eyes.</a:t>
            </a:r>
            <a:b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Example: W</a:t>
            </a:r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 Elm. The furniture store </a:t>
            </a:r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nered with Sophia Bush and Plant Kween</a:t>
            </a:r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to create a video about plant propagation.</a:t>
            </a:r>
          </a:p>
        </p:txBody>
      </p:sp>
    </p:spTree>
    <p:extLst>
      <p:ext uri="{BB962C8B-B14F-4D97-AF65-F5344CB8AC3E}">
        <p14:creationId xmlns:p14="http://schemas.microsoft.com/office/powerpoint/2010/main" val="11344017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418488-86E1-C264-1B58-3CBE4A93BEE6}"/>
              </a:ext>
            </a:extLst>
          </p:cNvPr>
          <p:cNvSpPr txBox="1"/>
          <p:nvPr/>
        </p:nvSpPr>
        <p:spPr>
          <a:xfrm>
            <a:off x="679860" y="1520785"/>
            <a:ext cx="495545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3. Use TikTok Ad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60DF5A-7AC7-E3AD-B6A1-BCC0072AB949}"/>
              </a:ext>
            </a:extLst>
          </p:cNvPr>
          <p:cNvSpPr txBox="1"/>
          <p:nvPr/>
        </p:nvSpPr>
        <p:spPr>
          <a:xfrm>
            <a:off x="688975" y="2067081"/>
            <a:ext cx="445329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dvertising on TikTok may just change the way you think about digital marketing. 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earch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hows that UGC-focused ads on TikTok outperform other kinds of digital ad placements, including Facebook ads (by 32%) and more conventional digital ads like Google ads (by 46%).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A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214F7F-95DD-C476-6A82-3B1AFB34AC95}"/>
              </a:ext>
            </a:extLst>
          </p:cNvPr>
          <p:cNvSpPr txBox="1"/>
          <p:nvPr/>
        </p:nvSpPr>
        <p:spPr>
          <a:xfrm>
            <a:off x="688975" y="4341703"/>
            <a:ext cx="49554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E" sz="1600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ads.tiktok.com/</a:t>
            </a:r>
            <a:endParaRPr lang="en-AE" sz="1600" dirty="0">
              <a:solidFill>
                <a:srgbClr val="90292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945965E-D987-706F-7379-3AC37A58F7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9009" y="952248"/>
            <a:ext cx="2886987" cy="46850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24132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418488-86E1-C264-1B58-3CBE4A93BEE6}"/>
              </a:ext>
            </a:extLst>
          </p:cNvPr>
          <p:cNvSpPr txBox="1"/>
          <p:nvPr/>
        </p:nvSpPr>
        <p:spPr>
          <a:xfrm>
            <a:off x="688975" y="952248"/>
            <a:ext cx="495545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4. Use Trending Audi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60DF5A-7AC7-E3AD-B6A1-BCC0072AB949}"/>
              </a:ext>
            </a:extLst>
          </p:cNvPr>
          <p:cNvSpPr txBox="1"/>
          <p:nvPr/>
        </p:nvSpPr>
        <p:spPr>
          <a:xfrm>
            <a:off x="698090" y="1498544"/>
            <a:ext cx="4453296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usic and sounds have a tremendous impact on engagement and visibility. </a:t>
            </a:r>
          </a:p>
          <a:p>
            <a:pPr algn="l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67% of users want to see TikTok videos from brands that feature trending audio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68% of users say trending audio helps them remember the brand better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58% of users say they're more likely to share an ad that features trending sound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62% say they're curious to learn about the brand after watching a video with trending sounds.</a:t>
            </a:r>
          </a:p>
        </p:txBody>
      </p:sp>
      <p:pic>
        <p:nvPicPr>
          <p:cNvPr id="7170" name="Picture 2" descr="Use this sound button on TikTok">
            <a:extLst>
              <a:ext uri="{FF2B5EF4-FFF2-40B4-BE49-F238E27FC236}">
                <a16:creationId xmlns:a16="http://schemas.microsoft.com/office/drawing/2014/main" id="{CB62B9A0-60A3-AD18-70EF-FC6E31A85B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3191" y="671387"/>
            <a:ext cx="4612809" cy="46128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5419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60DF5A-7AC7-E3AD-B6A1-BCC0072AB949}"/>
              </a:ext>
            </a:extLst>
          </p:cNvPr>
          <p:cNvSpPr txBox="1"/>
          <p:nvPr/>
        </p:nvSpPr>
        <p:spPr>
          <a:xfrm>
            <a:off x="609599" y="1455701"/>
            <a:ext cx="4453296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b="1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e’s is an easy way to find trending audio:</a:t>
            </a:r>
          </a:p>
          <a:p>
            <a:pPr algn="l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ap Discover on the bottom of your scree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You’ll see a scrolling feed of all trending hashtags and sounds across the app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croll until you see an icon on the left-hand side of a music note inside a circle. On the right-hand side, you’ll see a number that indicates how many videos on TikTok use that sound.</a:t>
            </a:r>
          </a:p>
          <a:p>
            <a:pPr algn="l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TikTok trending audio">
            <a:extLst>
              <a:ext uri="{FF2B5EF4-FFF2-40B4-BE49-F238E27FC236}">
                <a16:creationId xmlns:a16="http://schemas.microsoft.com/office/drawing/2014/main" id="{BE15810F-EF6D-BE4B-398B-5A668826BF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090" y="907461"/>
            <a:ext cx="4635910" cy="46359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57428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418488-86E1-C264-1B58-3CBE4A93BEE6}"/>
              </a:ext>
            </a:extLst>
          </p:cNvPr>
          <p:cNvSpPr txBox="1"/>
          <p:nvPr/>
        </p:nvSpPr>
        <p:spPr>
          <a:xfrm>
            <a:off x="688975" y="952248"/>
            <a:ext cx="495545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5. Track Engagement with Analyti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430EDB-1200-8B97-215A-CD4D1D306F23}"/>
              </a:ext>
            </a:extLst>
          </p:cNvPr>
          <p:cNvSpPr txBox="1"/>
          <p:nvPr/>
        </p:nvSpPr>
        <p:spPr>
          <a:xfrm>
            <a:off x="688975" y="1551934"/>
            <a:ext cx="4955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ain insight into the things your target audience enjoys seeing, and use it to refine your content.</a:t>
            </a:r>
            <a:endParaRPr lang="en-A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18252B-1878-219A-43DB-B82727EC91C1}"/>
              </a:ext>
            </a:extLst>
          </p:cNvPr>
          <p:cNvSpPr txBox="1"/>
          <p:nvPr/>
        </p:nvSpPr>
        <p:spPr>
          <a:xfrm>
            <a:off x="688974" y="2591553"/>
            <a:ext cx="9217025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buFont typeface="+mj-lt"/>
              <a:buAutoNum type="arabicPeriod"/>
            </a:pPr>
            <a:r>
              <a:rPr lang="en-US" sz="1400" b="1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verview: </a:t>
            </a:r>
            <a:r>
              <a:rPr lang="en-US" sz="1400" b="0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cks engagement and follower count</a:t>
            </a:r>
          </a:p>
          <a:p>
            <a:pPr marL="457200" indent="-457200" algn="l">
              <a:buFont typeface="+mj-lt"/>
              <a:buAutoNum type="arabicPeriod"/>
            </a:pPr>
            <a:endParaRPr lang="en-US" sz="1400" b="0" i="0" dirty="0">
              <a:solidFill>
                <a:srgbClr val="231F2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US" sz="1400" b="1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ntent: </a:t>
            </a:r>
            <a:r>
              <a:rPr lang="en-US" sz="1400" b="0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ck your most popular videos</a:t>
            </a:r>
          </a:p>
          <a:p>
            <a:pPr marL="457200" indent="-457200" algn="l">
              <a:buFont typeface="+mj-lt"/>
              <a:buAutoNum type="arabicPeriod"/>
            </a:pPr>
            <a:endParaRPr lang="en-US" sz="1400" b="0" i="0" dirty="0">
              <a:solidFill>
                <a:srgbClr val="231F2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US" sz="1400" b="1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llowers: </a:t>
            </a:r>
            <a:r>
              <a:rPr lang="en-US" sz="1400" b="0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eak down audience growth as well as audience demographics</a:t>
            </a:r>
          </a:p>
          <a:p>
            <a:pPr marL="457200" indent="-457200" algn="l">
              <a:buFont typeface="+mj-lt"/>
              <a:buAutoNum type="arabicPeriod"/>
            </a:pPr>
            <a:endParaRPr lang="en-US" sz="1400" b="0" i="0" dirty="0">
              <a:solidFill>
                <a:srgbClr val="231F2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+mj-lt"/>
              <a:buAutoNum type="arabicPeriod"/>
            </a:pPr>
            <a:r>
              <a:rPr lang="en-US" sz="1400" b="1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ive: </a:t>
            </a:r>
            <a:r>
              <a:rPr lang="en-US" sz="1400" b="0" i="0" dirty="0">
                <a:solidFill>
                  <a:srgbClr val="231F2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hows insights from Live videos</a:t>
            </a:r>
          </a:p>
        </p:txBody>
      </p:sp>
    </p:spTree>
    <p:extLst>
      <p:ext uri="{BB962C8B-B14F-4D97-AF65-F5344CB8AC3E}">
        <p14:creationId xmlns:p14="http://schemas.microsoft.com/office/powerpoint/2010/main" val="14254665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AutoShape 2" descr="   Facebook Ads Manager- screenshot  ">
            <a:extLst>
              <a:ext uri="{FF2B5EF4-FFF2-40B4-BE49-F238E27FC236}">
                <a16:creationId xmlns:a16="http://schemas.microsoft.com/office/drawing/2014/main" id="{F5DB5B38-4093-AD44-154C-616F8784FC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174083" name="AutoShape 4" descr="   Facebook Ads Manager- screenshot  ">
            <a:extLst>
              <a:ext uri="{FF2B5EF4-FFF2-40B4-BE49-F238E27FC236}">
                <a16:creationId xmlns:a16="http://schemas.microsoft.com/office/drawing/2014/main" id="{62CF2435-6537-7CC7-D174-EA692301DA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pic>
        <p:nvPicPr>
          <p:cNvPr id="174084" name="Picture 3">
            <a:extLst>
              <a:ext uri="{FF2B5EF4-FFF2-40B4-BE49-F238E27FC236}">
                <a16:creationId xmlns:a16="http://schemas.microsoft.com/office/drawing/2014/main" id="{9F121211-645F-5554-D343-03E03988EB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15" b="12701"/>
          <a:stretch/>
        </p:blipFill>
        <p:spPr bwMode="auto">
          <a:xfrm>
            <a:off x="381002" y="2221319"/>
            <a:ext cx="8615514" cy="33662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1C3C6A6-81DC-48DC-A476-3DF74CF7A869}"/>
              </a:ext>
            </a:extLst>
          </p:cNvPr>
          <p:cNvSpPr txBox="1"/>
          <p:nvPr/>
        </p:nvSpPr>
        <p:spPr>
          <a:xfrm>
            <a:off x="384175" y="1523998"/>
            <a:ext cx="42707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TikTok Ad Reach Rate Ranking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41376" y="771525"/>
            <a:ext cx="24536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Facts</a:t>
            </a:r>
          </a:p>
          <a:p>
            <a:endParaRPr lang="en-US" sz="1600" b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68EF8E-2FF1-481F-8628-3C7517C73B5B}"/>
              </a:ext>
            </a:extLst>
          </p:cNvPr>
          <p:cNvSpPr txBox="1"/>
          <p:nvPr/>
        </p:nvSpPr>
        <p:spPr>
          <a:xfrm>
            <a:off x="5949952" y="3241224"/>
            <a:ext cx="3555998" cy="3366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Over 50% of users under 24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8EB4CE4B-E78E-4F3E-8247-7E305FDFFA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1976"/>
          <a:stretch/>
        </p:blipFill>
        <p:spPr>
          <a:xfrm>
            <a:off x="904873" y="1630422"/>
            <a:ext cx="4474645" cy="35553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Rectangle 3"/>
          <p:cNvSpPr/>
          <p:nvPr/>
        </p:nvSpPr>
        <p:spPr>
          <a:xfrm>
            <a:off x="5949952" y="3733800"/>
            <a:ext cx="2889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arly 38%</a:t>
            </a:r>
            <a:r>
              <a:rPr lang="en-US" sz="1600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f TikTok’s users within the US are above 30.</a:t>
            </a:r>
          </a:p>
        </p:txBody>
      </p:sp>
    </p:spTree>
    <p:extLst>
      <p:ext uri="{BB962C8B-B14F-4D97-AF65-F5344CB8AC3E}">
        <p14:creationId xmlns:p14="http://schemas.microsoft.com/office/powerpoint/2010/main" val="24693287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6575" y="917609"/>
            <a:ext cx="51661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How to Create a TikTok </a:t>
            </a:r>
          </a:p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Business Accou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68EF8E-2FF1-481F-8628-3C7517C73B5B}"/>
              </a:ext>
            </a:extLst>
          </p:cNvPr>
          <p:cNvSpPr txBox="1"/>
          <p:nvPr/>
        </p:nvSpPr>
        <p:spPr>
          <a:xfrm>
            <a:off x="536575" y="2075646"/>
            <a:ext cx="4743348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 algn="l">
              <a:buFont typeface="+mj-lt"/>
              <a:buAutoNum type="arabicPeriod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o to your profile page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en the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ttings and Privacy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tab in the top right corner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ap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nage account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der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ccount control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choose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witch to Business Account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oose the category that best describes your account - Tiktok offers categories from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rt and Craft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rsonal Blog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to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itness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and more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om there, you can add a business website and email to your profile, and get started.</a:t>
            </a:r>
          </a:p>
        </p:txBody>
      </p:sp>
      <p:pic>
        <p:nvPicPr>
          <p:cNvPr id="1026" name="Picture 2" descr="switch to business account on TikTok">
            <a:extLst>
              <a:ext uri="{FF2B5EF4-FFF2-40B4-BE49-F238E27FC236}">
                <a16:creationId xmlns:a16="http://schemas.microsoft.com/office/drawing/2014/main" id="{624B367E-C1A2-9686-5E4C-8C5DB6C41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863" y="1085778"/>
            <a:ext cx="4303137" cy="4441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9556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180169" y="4989956"/>
            <a:ext cx="2889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Hashtags, Cover</a:t>
            </a:r>
          </a:p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&amp; Additional features. </a:t>
            </a:r>
          </a:p>
        </p:txBody>
      </p:sp>
      <p:pic>
        <p:nvPicPr>
          <p:cNvPr id="1026" name="Picture 2" descr="tiktok marketing: upload proces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" y="772737"/>
            <a:ext cx="7073202" cy="375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81177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object 12">
            <a:extLst>
              <a:ext uri="{FF2B5EF4-FFF2-40B4-BE49-F238E27FC236}">
                <a16:creationId xmlns:a16="http://schemas.microsoft.com/office/drawing/2014/main" id="{49B495A4-7295-4B7A-AE5A-01C2AB5F15D8}"/>
              </a:ext>
            </a:extLst>
          </p:cNvPr>
          <p:cNvSpPr/>
          <p:nvPr/>
        </p:nvSpPr>
        <p:spPr>
          <a:xfrm>
            <a:off x="5664859" y="1469301"/>
            <a:ext cx="2090444" cy="37799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C27D71-923F-408E-978E-DD143A9303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7244" y="3743191"/>
            <a:ext cx="3638550" cy="17526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65EE8879-C2F1-4857-8537-3C346D7327E1}"/>
              </a:ext>
            </a:extLst>
          </p:cNvPr>
          <p:cNvGrpSpPr/>
          <p:nvPr/>
        </p:nvGrpSpPr>
        <p:grpSpPr>
          <a:xfrm>
            <a:off x="984147" y="1421739"/>
            <a:ext cx="2296258" cy="446418"/>
            <a:chOff x="603147" y="1421739"/>
            <a:chExt cx="2296258" cy="446418"/>
          </a:xfrm>
        </p:grpSpPr>
        <p:sp>
          <p:nvSpPr>
            <p:cNvPr id="30" name="object 17">
              <a:extLst>
                <a:ext uri="{FF2B5EF4-FFF2-40B4-BE49-F238E27FC236}">
                  <a16:creationId xmlns:a16="http://schemas.microsoft.com/office/drawing/2014/main" id="{D61F6CF1-F4DC-464D-9452-EF25EAE1D6E5}"/>
                </a:ext>
              </a:extLst>
            </p:cNvPr>
            <p:cNvSpPr/>
            <p:nvPr/>
          </p:nvSpPr>
          <p:spPr>
            <a:xfrm>
              <a:off x="603147" y="1444968"/>
              <a:ext cx="249554" cy="325120"/>
            </a:xfrm>
            <a:custGeom>
              <a:avLst/>
              <a:gdLst/>
              <a:ahLst/>
              <a:cxnLst/>
              <a:rect l="l" t="t" r="r" b="b"/>
              <a:pathLst>
                <a:path w="249554" h="325119">
                  <a:moveTo>
                    <a:pt x="91744" y="233514"/>
                  </a:moveTo>
                  <a:lnTo>
                    <a:pt x="50673" y="233514"/>
                  </a:lnTo>
                  <a:lnTo>
                    <a:pt x="34594" y="325043"/>
                  </a:lnTo>
                  <a:lnTo>
                    <a:pt x="75679" y="325043"/>
                  </a:lnTo>
                  <a:lnTo>
                    <a:pt x="91744" y="233514"/>
                  </a:lnTo>
                  <a:close/>
                </a:path>
                <a:path w="249554" h="325119">
                  <a:moveTo>
                    <a:pt x="175463" y="233514"/>
                  </a:moveTo>
                  <a:lnTo>
                    <a:pt x="134607" y="233514"/>
                  </a:lnTo>
                  <a:lnTo>
                    <a:pt x="118541" y="325043"/>
                  </a:lnTo>
                  <a:lnTo>
                    <a:pt x="159385" y="325043"/>
                  </a:lnTo>
                  <a:lnTo>
                    <a:pt x="175463" y="233514"/>
                  </a:lnTo>
                  <a:close/>
                </a:path>
                <a:path w="249554" h="325119">
                  <a:moveTo>
                    <a:pt x="232384" y="195783"/>
                  </a:moveTo>
                  <a:lnTo>
                    <a:pt x="0" y="195783"/>
                  </a:lnTo>
                  <a:lnTo>
                    <a:pt x="0" y="233514"/>
                  </a:lnTo>
                  <a:lnTo>
                    <a:pt x="232384" y="233514"/>
                  </a:lnTo>
                  <a:lnTo>
                    <a:pt x="232384" y="195783"/>
                  </a:lnTo>
                  <a:close/>
                </a:path>
                <a:path w="249554" h="325119">
                  <a:moveTo>
                    <a:pt x="109601" y="131038"/>
                  </a:moveTo>
                  <a:lnTo>
                    <a:pt x="68529" y="131038"/>
                  </a:lnTo>
                  <a:lnTo>
                    <a:pt x="57150" y="195783"/>
                  </a:lnTo>
                  <a:lnTo>
                    <a:pt x="98221" y="195783"/>
                  </a:lnTo>
                  <a:lnTo>
                    <a:pt x="109601" y="131038"/>
                  </a:lnTo>
                  <a:close/>
                </a:path>
                <a:path w="249554" h="325119">
                  <a:moveTo>
                    <a:pt x="193319" y="131038"/>
                  </a:moveTo>
                  <a:lnTo>
                    <a:pt x="152463" y="131038"/>
                  </a:lnTo>
                  <a:lnTo>
                    <a:pt x="141084" y="195783"/>
                  </a:lnTo>
                  <a:lnTo>
                    <a:pt x="181940" y="195783"/>
                  </a:lnTo>
                  <a:lnTo>
                    <a:pt x="193319" y="131038"/>
                  </a:lnTo>
                  <a:close/>
                </a:path>
                <a:path w="249554" h="325119">
                  <a:moveTo>
                    <a:pt x="249135" y="92862"/>
                  </a:moveTo>
                  <a:lnTo>
                    <a:pt x="16967" y="92862"/>
                  </a:lnTo>
                  <a:lnTo>
                    <a:pt x="16967" y="131038"/>
                  </a:lnTo>
                  <a:lnTo>
                    <a:pt x="249135" y="131038"/>
                  </a:lnTo>
                  <a:lnTo>
                    <a:pt x="249135" y="92862"/>
                  </a:lnTo>
                  <a:close/>
                </a:path>
                <a:path w="249554" h="325119">
                  <a:moveTo>
                    <a:pt x="132600" y="0"/>
                  </a:moveTo>
                  <a:lnTo>
                    <a:pt x="91744" y="0"/>
                  </a:lnTo>
                  <a:lnTo>
                    <a:pt x="75222" y="92862"/>
                  </a:lnTo>
                  <a:lnTo>
                    <a:pt x="116306" y="92862"/>
                  </a:lnTo>
                  <a:lnTo>
                    <a:pt x="132600" y="0"/>
                  </a:lnTo>
                  <a:close/>
                </a:path>
                <a:path w="249554" h="325119">
                  <a:moveTo>
                    <a:pt x="216535" y="0"/>
                  </a:moveTo>
                  <a:lnTo>
                    <a:pt x="175463" y="0"/>
                  </a:lnTo>
                  <a:lnTo>
                    <a:pt x="159169" y="92862"/>
                  </a:lnTo>
                  <a:lnTo>
                    <a:pt x="200025" y="92862"/>
                  </a:lnTo>
                  <a:lnTo>
                    <a:pt x="216535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32" name="object 18">
              <a:extLst>
                <a:ext uri="{FF2B5EF4-FFF2-40B4-BE49-F238E27FC236}">
                  <a16:creationId xmlns:a16="http://schemas.microsoft.com/office/drawing/2014/main" id="{F8C95EC2-9A50-4E02-A400-21477A7D7108}"/>
                </a:ext>
              </a:extLst>
            </p:cNvPr>
            <p:cNvSpPr/>
            <p:nvPr/>
          </p:nvSpPr>
          <p:spPr>
            <a:xfrm>
              <a:off x="874381" y="1444955"/>
              <a:ext cx="332740" cy="325120"/>
            </a:xfrm>
            <a:custGeom>
              <a:avLst/>
              <a:gdLst/>
              <a:ahLst/>
              <a:cxnLst/>
              <a:rect l="l" t="t" r="r" b="b"/>
              <a:pathLst>
                <a:path w="332740" h="325119">
                  <a:moveTo>
                    <a:pt x="134620" y="0"/>
                  </a:moveTo>
                  <a:lnTo>
                    <a:pt x="0" y="0"/>
                  </a:lnTo>
                  <a:lnTo>
                    <a:pt x="0" y="39293"/>
                  </a:lnTo>
                  <a:lnTo>
                    <a:pt x="34607" y="45986"/>
                  </a:lnTo>
                  <a:lnTo>
                    <a:pt x="34607" y="279273"/>
                  </a:lnTo>
                  <a:lnTo>
                    <a:pt x="0" y="285978"/>
                  </a:lnTo>
                  <a:lnTo>
                    <a:pt x="0" y="325043"/>
                  </a:lnTo>
                  <a:lnTo>
                    <a:pt x="134620" y="325043"/>
                  </a:lnTo>
                  <a:lnTo>
                    <a:pt x="134620" y="285978"/>
                  </a:lnTo>
                  <a:lnTo>
                    <a:pt x="99783" y="279273"/>
                  </a:lnTo>
                  <a:lnTo>
                    <a:pt x="99783" y="189979"/>
                  </a:lnTo>
                  <a:lnTo>
                    <a:pt x="297357" y="189979"/>
                  </a:lnTo>
                  <a:lnTo>
                    <a:pt x="297357" y="139750"/>
                  </a:lnTo>
                  <a:lnTo>
                    <a:pt x="99783" y="139750"/>
                  </a:lnTo>
                  <a:lnTo>
                    <a:pt x="99783" y="45986"/>
                  </a:lnTo>
                  <a:lnTo>
                    <a:pt x="134620" y="39293"/>
                  </a:lnTo>
                  <a:lnTo>
                    <a:pt x="134620" y="0"/>
                  </a:lnTo>
                  <a:close/>
                </a:path>
                <a:path w="332740" h="325119">
                  <a:moveTo>
                    <a:pt x="297357" y="189979"/>
                  </a:moveTo>
                  <a:lnTo>
                    <a:pt x="232397" y="189979"/>
                  </a:lnTo>
                  <a:lnTo>
                    <a:pt x="232397" y="279273"/>
                  </a:lnTo>
                  <a:lnTo>
                    <a:pt x="197573" y="285978"/>
                  </a:lnTo>
                  <a:lnTo>
                    <a:pt x="197573" y="325043"/>
                  </a:lnTo>
                  <a:lnTo>
                    <a:pt x="332181" y="325043"/>
                  </a:lnTo>
                  <a:lnTo>
                    <a:pt x="332181" y="285978"/>
                  </a:lnTo>
                  <a:lnTo>
                    <a:pt x="297357" y="279273"/>
                  </a:lnTo>
                  <a:lnTo>
                    <a:pt x="297357" y="189979"/>
                  </a:lnTo>
                  <a:close/>
                </a:path>
                <a:path w="332740" h="325119">
                  <a:moveTo>
                    <a:pt x="332181" y="0"/>
                  </a:moveTo>
                  <a:lnTo>
                    <a:pt x="197573" y="0"/>
                  </a:lnTo>
                  <a:lnTo>
                    <a:pt x="197573" y="39293"/>
                  </a:lnTo>
                  <a:lnTo>
                    <a:pt x="232397" y="45986"/>
                  </a:lnTo>
                  <a:lnTo>
                    <a:pt x="232397" y="139750"/>
                  </a:lnTo>
                  <a:lnTo>
                    <a:pt x="297357" y="139750"/>
                  </a:lnTo>
                  <a:lnTo>
                    <a:pt x="297357" y="45986"/>
                  </a:lnTo>
                  <a:lnTo>
                    <a:pt x="332181" y="39293"/>
                  </a:lnTo>
                  <a:lnTo>
                    <a:pt x="332181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34" name="object 19">
              <a:extLst>
                <a:ext uri="{FF2B5EF4-FFF2-40B4-BE49-F238E27FC236}">
                  <a16:creationId xmlns:a16="http://schemas.microsoft.com/office/drawing/2014/main" id="{B22119FF-10A8-441C-8DC8-437AE556328A}"/>
                </a:ext>
              </a:extLst>
            </p:cNvPr>
            <p:cNvSpPr/>
            <p:nvPr/>
          </p:nvSpPr>
          <p:spPr>
            <a:xfrm>
              <a:off x="1235806" y="1524000"/>
              <a:ext cx="226593" cy="250698"/>
            </a:xfrm>
            <a:prstGeom prst="rect">
              <a:avLst/>
            </a:prstGeom>
            <a:blipFill>
              <a:blip r:embed="rId5" cstate="print">
                <a:grayscl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38" name="object 20">
              <a:extLst>
                <a:ext uri="{FF2B5EF4-FFF2-40B4-BE49-F238E27FC236}">
                  <a16:creationId xmlns:a16="http://schemas.microsoft.com/office/drawing/2014/main" id="{C8D1D751-26F8-4FA6-912D-05A1E91CA0B4}"/>
                </a:ext>
              </a:extLst>
            </p:cNvPr>
            <p:cNvSpPr/>
            <p:nvPr/>
          </p:nvSpPr>
          <p:spPr>
            <a:xfrm>
              <a:off x="1492093" y="1524444"/>
              <a:ext cx="198462" cy="250253"/>
            </a:xfrm>
            <a:prstGeom prst="rect">
              <a:avLst/>
            </a:prstGeom>
            <a:blipFill>
              <a:blip r:embed="rId6" cstate="print">
                <a:grayscl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40" name="object 21">
              <a:extLst>
                <a:ext uri="{FF2B5EF4-FFF2-40B4-BE49-F238E27FC236}">
                  <a16:creationId xmlns:a16="http://schemas.microsoft.com/office/drawing/2014/main" id="{A508E263-D2E2-4489-A832-3546AF1BF24C}"/>
                </a:ext>
              </a:extLst>
            </p:cNvPr>
            <p:cNvSpPr/>
            <p:nvPr/>
          </p:nvSpPr>
          <p:spPr>
            <a:xfrm>
              <a:off x="1712870" y="1421739"/>
              <a:ext cx="276860" cy="348615"/>
            </a:xfrm>
            <a:custGeom>
              <a:avLst/>
              <a:gdLst/>
              <a:ahLst/>
              <a:cxnLst/>
              <a:rect l="l" t="t" r="r" b="b"/>
              <a:pathLst>
                <a:path w="276860" h="348615">
                  <a:moveTo>
                    <a:pt x="99796" y="0"/>
                  </a:moveTo>
                  <a:lnTo>
                    <a:pt x="0" y="0"/>
                  </a:lnTo>
                  <a:lnTo>
                    <a:pt x="0" y="39293"/>
                  </a:lnTo>
                  <a:lnTo>
                    <a:pt x="34836" y="45986"/>
                  </a:lnTo>
                  <a:lnTo>
                    <a:pt x="34836" y="302501"/>
                  </a:lnTo>
                  <a:lnTo>
                    <a:pt x="3352" y="309194"/>
                  </a:lnTo>
                  <a:lnTo>
                    <a:pt x="3352" y="348259"/>
                  </a:lnTo>
                  <a:lnTo>
                    <a:pt x="127927" y="348259"/>
                  </a:lnTo>
                  <a:lnTo>
                    <a:pt x="127927" y="309194"/>
                  </a:lnTo>
                  <a:lnTo>
                    <a:pt x="99796" y="302501"/>
                  </a:lnTo>
                  <a:lnTo>
                    <a:pt x="99913" y="171526"/>
                  </a:lnTo>
                  <a:lnTo>
                    <a:pt x="104406" y="165722"/>
                  </a:lnTo>
                  <a:lnTo>
                    <a:pt x="110096" y="161112"/>
                  </a:lnTo>
                  <a:lnTo>
                    <a:pt x="123647" y="154559"/>
                  </a:lnTo>
                  <a:lnTo>
                    <a:pt x="131571" y="152920"/>
                  </a:lnTo>
                  <a:lnTo>
                    <a:pt x="237526" y="152920"/>
                  </a:lnTo>
                  <a:lnTo>
                    <a:pt x="233226" y="141631"/>
                  </a:lnTo>
                  <a:lnTo>
                    <a:pt x="230505" y="137515"/>
                  </a:lnTo>
                  <a:lnTo>
                    <a:pt x="99796" y="137515"/>
                  </a:lnTo>
                  <a:lnTo>
                    <a:pt x="99796" y="0"/>
                  </a:lnTo>
                  <a:close/>
                </a:path>
                <a:path w="276860" h="348615">
                  <a:moveTo>
                    <a:pt x="237526" y="152920"/>
                  </a:moveTo>
                  <a:lnTo>
                    <a:pt x="140652" y="152920"/>
                  </a:lnTo>
                  <a:lnTo>
                    <a:pt x="149865" y="153653"/>
                  </a:lnTo>
                  <a:lnTo>
                    <a:pt x="157865" y="155852"/>
                  </a:lnTo>
                  <a:lnTo>
                    <a:pt x="179540" y="191453"/>
                  </a:lnTo>
                  <a:lnTo>
                    <a:pt x="180162" y="204495"/>
                  </a:lnTo>
                  <a:lnTo>
                    <a:pt x="180162" y="302501"/>
                  </a:lnTo>
                  <a:lnTo>
                    <a:pt x="152031" y="309194"/>
                  </a:lnTo>
                  <a:lnTo>
                    <a:pt x="152031" y="348259"/>
                  </a:lnTo>
                  <a:lnTo>
                    <a:pt x="276605" y="348259"/>
                  </a:lnTo>
                  <a:lnTo>
                    <a:pt x="276605" y="309194"/>
                  </a:lnTo>
                  <a:lnTo>
                    <a:pt x="245351" y="302501"/>
                  </a:lnTo>
                  <a:lnTo>
                    <a:pt x="245326" y="204495"/>
                  </a:lnTo>
                  <a:lnTo>
                    <a:pt x="244003" y="180417"/>
                  </a:lnTo>
                  <a:lnTo>
                    <a:pt x="239961" y="159315"/>
                  </a:lnTo>
                  <a:lnTo>
                    <a:pt x="237526" y="152920"/>
                  </a:lnTo>
                  <a:close/>
                </a:path>
                <a:path w="276860" h="348615">
                  <a:moveTo>
                    <a:pt x="164312" y="102247"/>
                  </a:moveTo>
                  <a:lnTo>
                    <a:pt x="119759" y="116616"/>
                  </a:lnTo>
                  <a:lnTo>
                    <a:pt x="99796" y="137515"/>
                  </a:lnTo>
                  <a:lnTo>
                    <a:pt x="230505" y="137515"/>
                  </a:lnTo>
                  <a:lnTo>
                    <a:pt x="198161" y="108526"/>
                  </a:lnTo>
                  <a:lnTo>
                    <a:pt x="164312" y="102247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42" name="object 22">
              <a:extLst>
                <a:ext uri="{FF2B5EF4-FFF2-40B4-BE49-F238E27FC236}">
                  <a16:creationId xmlns:a16="http://schemas.microsoft.com/office/drawing/2014/main" id="{2D2697A4-40AD-4F36-8F9E-7BC96BF25C1A}"/>
                </a:ext>
              </a:extLst>
            </p:cNvPr>
            <p:cNvSpPr/>
            <p:nvPr/>
          </p:nvSpPr>
          <p:spPr>
            <a:xfrm>
              <a:off x="2006215" y="1469301"/>
              <a:ext cx="150495" cy="305435"/>
            </a:xfrm>
            <a:custGeom>
              <a:avLst/>
              <a:gdLst/>
              <a:ahLst/>
              <a:cxnLst/>
              <a:rect l="l" t="t" r="r" b="b"/>
              <a:pathLst>
                <a:path w="150494" h="305434">
                  <a:moveTo>
                    <a:pt x="100456" y="104927"/>
                  </a:moveTo>
                  <a:lnTo>
                    <a:pt x="35496" y="104927"/>
                  </a:lnTo>
                  <a:lnTo>
                    <a:pt x="35496" y="228155"/>
                  </a:lnTo>
                  <a:lnTo>
                    <a:pt x="45724" y="276247"/>
                  </a:lnTo>
                  <a:lnTo>
                    <a:pt x="75758" y="300766"/>
                  </a:lnTo>
                  <a:lnTo>
                    <a:pt x="105587" y="305396"/>
                  </a:lnTo>
                  <a:lnTo>
                    <a:pt x="113931" y="305396"/>
                  </a:lnTo>
                  <a:lnTo>
                    <a:pt x="121665" y="304838"/>
                  </a:lnTo>
                  <a:lnTo>
                    <a:pt x="135953" y="302602"/>
                  </a:lnTo>
                  <a:lnTo>
                    <a:pt x="143167" y="300926"/>
                  </a:lnTo>
                  <a:lnTo>
                    <a:pt x="150469" y="298704"/>
                  </a:lnTo>
                  <a:lnTo>
                    <a:pt x="145172" y="254050"/>
                  </a:lnTo>
                  <a:lnTo>
                    <a:pt x="115341" y="254050"/>
                  </a:lnTo>
                  <a:lnTo>
                    <a:pt x="110134" y="252044"/>
                  </a:lnTo>
                  <a:lnTo>
                    <a:pt x="102387" y="244005"/>
                  </a:lnTo>
                  <a:lnTo>
                    <a:pt x="100456" y="237312"/>
                  </a:lnTo>
                  <a:lnTo>
                    <a:pt x="100456" y="104927"/>
                  </a:lnTo>
                  <a:close/>
                </a:path>
                <a:path w="150494" h="305434">
                  <a:moveTo>
                    <a:pt x="144881" y="251599"/>
                  </a:moveTo>
                  <a:lnTo>
                    <a:pt x="140715" y="252488"/>
                  </a:lnTo>
                  <a:lnTo>
                    <a:pt x="136956" y="253123"/>
                  </a:lnTo>
                  <a:lnTo>
                    <a:pt x="130263" y="253860"/>
                  </a:lnTo>
                  <a:lnTo>
                    <a:pt x="126352" y="254050"/>
                  </a:lnTo>
                  <a:lnTo>
                    <a:pt x="145172" y="254050"/>
                  </a:lnTo>
                  <a:lnTo>
                    <a:pt x="144881" y="251599"/>
                  </a:lnTo>
                  <a:close/>
                </a:path>
                <a:path w="150494" h="305434">
                  <a:moveTo>
                    <a:pt x="142874" y="59156"/>
                  </a:moveTo>
                  <a:lnTo>
                    <a:pt x="0" y="59156"/>
                  </a:lnTo>
                  <a:lnTo>
                    <a:pt x="0" y="104927"/>
                  </a:lnTo>
                  <a:lnTo>
                    <a:pt x="142874" y="104927"/>
                  </a:lnTo>
                  <a:lnTo>
                    <a:pt x="142874" y="59156"/>
                  </a:lnTo>
                  <a:close/>
                </a:path>
                <a:path w="150494" h="305434">
                  <a:moveTo>
                    <a:pt x="100456" y="0"/>
                  </a:moveTo>
                  <a:lnTo>
                    <a:pt x="35496" y="0"/>
                  </a:lnTo>
                  <a:lnTo>
                    <a:pt x="35496" y="59156"/>
                  </a:lnTo>
                  <a:lnTo>
                    <a:pt x="100456" y="59156"/>
                  </a:lnTo>
                  <a:lnTo>
                    <a:pt x="100456" y="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44" name="object 23">
              <a:extLst>
                <a:ext uri="{FF2B5EF4-FFF2-40B4-BE49-F238E27FC236}">
                  <a16:creationId xmlns:a16="http://schemas.microsoft.com/office/drawing/2014/main" id="{F0B914E4-625D-4437-ABBD-FDBE41EA4D8F}"/>
                </a:ext>
              </a:extLst>
            </p:cNvPr>
            <p:cNvSpPr/>
            <p:nvPr/>
          </p:nvSpPr>
          <p:spPr>
            <a:xfrm>
              <a:off x="2183469" y="1524000"/>
              <a:ext cx="226593" cy="250698"/>
            </a:xfrm>
            <a:prstGeom prst="rect">
              <a:avLst/>
            </a:prstGeom>
            <a:blipFill>
              <a:blip r:embed="rId5" cstate="print">
                <a:grayscl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46" name="object 24">
              <a:extLst>
                <a:ext uri="{FF2B5EF4-FFF2-40B4-BE49-F238E27FC236}">
                  <a16:creationId xmlns:a16="http://schemas.microsoft.com/office/drawing/2014/main" id="{9F43D31C-97E2-4856-BCB5-EC82BC59D246}"/>
                </a:ext>
              </a:extLst>
            </p:cNvPr>
            <p:cNvSpPr/>
            <p:nvPr/>
          </p:nvSpPr>
          <p:spPr>
            <a:xfrm>
              <a:off x="2436186" y="1523987"/>
              <a:ext cx="218440" cy="344170"/>
            </a:xfrm>
            <a:custGeom>
              <a:avLst/>
              <a:gdLst/>
              <a:ahLst/>
              <a:cxnLst/>
              <a:rect l="l" t="t" r="r" b="b"/>
              <a:pathLst>
                <a:path w="218439" h="344169">
                  <a:moveTo>
                    <a:pt x="40855" y="279057"/>
                  </a:moveTo>
                  <a:lnTo>
                    <a:pt x="28803" y="324827"/>
                  </a:lnTo>
                  <a:lnTo>
                    <a:pt x="37704" y="328950"/>
                  </a:lnTo>
                  <a:lnTo>
                    <a:pt x="46996" y="332611"/>
                  </a:lnTo>
                  <a:lnTo>
                    <a:pt x="86733" y="342317"/>
                  </a:lnTo>
                  <a:lnTo>
                    <a:pt x="105600" y="343573"/>
                  </a:lnTo>
                  <a:lnTo>
                    <a:pt x="130429" y="341794"/>
                  </a:lnTo>
                  <a:lnTo>
                    <a:pt x="171673" y="327563"/>
                  </a:lnTo>
                  <a:lnTo>
                    <a:pt x="201221" y="299674"/>
                  </a:lnTo>
                  <a:lnTo>
                    <a:pt x="204428" y="293573"/>
                  </a:lnTo>
                  <a:lnTo>
                    <a:pt x="105143" y="293573"/>
                  </a:lnTo>
                  <a:lnTo>
                    <a:pt x="96549" y="293328"/>
                  </a:lnTo>
                  <a:lnTo>
                    <a:pt x="56483" y="285059"/>
                  </a:lnTo>
                  <a:lnTo>
                    <a:pt x="48668" y="282233"/>
                  </a:lnTo>
                  <a:lnTo>
                    <a:pt x="40855" y="279057"/>
                  </a:lnTo>
                  <a:close/>
                </a:path>
                <a:path w="218439" h="344169">
                  <a:moveTo>
                    <a:pt x="218109" y="222796"/>
                  </a:moveTo>
                  <a:lnTo>
                    <a:pt x="152704" y="222796"/>
                  </a:lnTo>
                  <a:lnTo>
                    <a:pt x="152648" y="239583"/>
                  </a:lnTo>
                  <a:lnTo>
                    <a:pt x="151964" y="250885"/>
                  </a:lnTo>
                  <a:lnTo>
                    <a:pt x="134198" y="285407"/>
                  </a:lnTo>
                  <a:lnTo>
                    <a:pt x="105143" y="293573"/>
                  </a:lnTo>
                  <a:lnTo>
                    <a:pt x="204428" y="293573"/>
                  </a:lnTo>
                  <a:lnTo>
                    <a:pt x="210604" y="281822"/>
                  </a:lnTo>
                  <a:lnTo>
                    <a:pt x="216233" y="261555"/>
                  </a:lnTo>
                  <a:lnTo>
                    <a:pt x="218051" y="239583"/>
                  </a:lnTo>
                  <a:lnTo>
                    <a:pt x="218109" y="222796"/>
                  </a:lnTo>
                  <a:close/>
                </a:path>
                <a:path w="218439" h="344169">
                  <a:moveTo>
                    <a:pt x="94653" y="0"/>
                  </a:moveTo>
                  <a:lnTo>
                    <a:pt x="54781" y="8763"/>
                  </a:lnTo>
                  <a:lnTo>
                    <a:pt x="24892" y="35052"/>
                  </a:lnTo>
                  <a:lnTo>
                    <a:pt x="6226" y="75628"/>
                  </a:lnTo>
                  <a:lnTo>
                    <a:pt x="0" y="127254"/>
                  </a:lnTo>
                  <a:lnTo>
                    <a:pt x="0" y="131940"/>
                  </a:lnTo>
                  <a:lnTo>
                    <a:pt x="6226" y="180135"/>
                  </a:lnTo>
                  <a:lnTo>
                    <a:pt x="24892" y="217995"/>
                  </a:lnTo>
                  <a:lnTo>
                    <a:pt x="54668" y="242530"/>
                  </a:lnTo>
                  <a:lnTo>
                    <a:pt x="94208" y="250710"/>
                  </a:lnTo>
                  <a:lnTo>
                    <a:pt x="103324" y="250263"/>
                  </a:lnTo>
                  <a:lnTo>
                    <a:pt x="141035" y="234797"/>
                  </a:lnTo>
                  <a:lnTo>
                    <a:pt x="152704" y="222796"/>
                  </a:lnTo>
                  <a:lnTo>
                    <a:pt x="218109" y="222796"/>
                  </a:lnTo>
                  <a:lnTo>
                    <a:pt x="218109" y="200025"/>
                  </a:lnTo>
                  <a:lnTo>
                    <a:pt x="110731" y="200025"/>
                  </a:lnTo>
                  <a:lnTo>
                    <a:pt x="99510" y="198888"/>
                  </a:lnTo>
                  <a:lnTo>
                    <a:pt x="71216" y="171897"/>
                  </a:lnTo>
                  <a:lnTo>
                    <a:pt x="65189" y="131940"/>
                  </a:lnTo>
                  <a:lnTo>
                    <a:pt x="65189" y="127254"/>
                  </a:lnTo>
                  <a:lnTo>
                    <a:pt x="71404" y="83300"/>
                  </a:lnTo>
                  <a:lnTo>
                    <a:pt x="100033" y="52009"/>
                  </a:lnTo>
                  <a:lnTo>
                    <a:pt x="111175" y="50685"/>
                  </a:lnTo>
                  <a:lnTo>
                    <a:pt x="218109" y="50685"/>
                  </a:lnTo>
                  <a:lnTo>
                    <a:pt x="218109" y="34836"/>
                  </a:lnTo>
                  <a:lnTo>
                    <a:pt x="156718" y="34836"/>
                  </a:lnTo>
                  <a:lnTo>
                    <a:pt x="150970" y="26944"/>
                  </a:lnTo>
                  <a:lnTo>
                    <a:pt x="144662" y="20015"/>
                  </a:lnTo>
                  <a:lnTo>
                    <a:pt x="104507" y="566"/>
                  </a:lnTo>
                  <a:lnTo>
                    <a:pt x="94653" y="0"/>
                  </a:lnTo>
                  <a:close/>
                </a:path>
                <a:path w="218439" h="344169">
                  <a:moveTo>
                    <a:pt x="218109" y="50685"/>
                  </a:moveTo>
                  <a:lnTo>
                    <a:pt x="111175" y="50685"/>
                  </a:lnTo>
                  <a:lnTo>
                    <a:pt x="118174" y="51061"/>
                  </a:lnTo>
                  <a:lnTo>
                    <a:pt x="124655" y="52190"/>
                  </a:lnTo>
                  <a:lnTo>
                    <a:pt x="152704" y="73672"/>
                  </a:lnTo>
                  <a:lnTo>
                    <a:pt x="152704" y="178600"/>
                  </a:lnTo>
                  <a:lnTo>
                    <a:pt x="117922" y="199684"/>
                  </a:lnTo>
                  <a:lnTo>
                    <a:pt x="110731" y="200025"/>
                  </a:lnTo>
                  <a:lnTo>
                    <a:pt x="218109" y="200025"/>
                  </a:lnTo>
                  <a:lnTo>
                    <a:pt x="218109" y="50685"/>
                  </a:lnTo>
                  <a:close/>
                </a:path>
                <a:path w="218439" h="344169">
                  <a:moveTo>
                    <a:pt x="218109" y="4470"/>
                  </a:moveTo>
                  <a:lnTo>
                    <a:pt x="161404" y="4470"/>
                  </a:lnTo>
                  <a:lnTo>
                    <a:pt x="156718" y="34836"/>
                  </a:lnTo>
                  <a:lnTo>
                    <a:pt x="218109" y="34836"/>
                  </a:lnTo>
                  <a:lnTo>
                    <a:pt x="218109" y="4470"/>
                  </a:lnTo>
                  <a:close/>
                </a:path>
              </a:pathLst>
            </a:custGeom>
            <a:solidFill>
              <a:srgbClr val="6B6B6B"/>
            </a:solid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  <p:sp>
          <p:nvSpPr>
            <p:cNvPr id="48" name="object 25">
              <a:extLst>
                <a:ext uri="{FF2B5EF4-FFF2-40B4-BE49-F238E27FC236}">
                  <a16:creationId xmlns:a16="http://schemas.microsoft.com/office/drawing/2014/main" id="{D150BF84-3BA9-4378-A8C7-94ECDBAC9967}"/>
                </a:ext>
              </a:extLst>
            </p:cNvPr>
            <p:cNvSpPr/>
            <p:nvPr/>
          </p:nvSpPr>
          <p:spPr>
            <a:xfrm>
              <a:off x="2700943" y="1524444"/>
              <a:ext cx="198462" cy="250253"/>
            </a:xfrm>
            <a:prstGeom prst="rect">
              <a:avLst/>
            </a:prstGeom>
            <a:blipFill>
              <a:blip r:embed="rId7" cstate="print">
                <a:grayscl/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 dirty="0">
                <a:latin typeface="Georgia" panose="02040502050405020303" pitchFamily="18" charset="0"/>
              </a:endParaRPr>
            </a:p>
          </p:txBody>
        </p:sp>
      </p:grpSp>
      <p:sp>
        <p:nvSpPr>
          <p:cNvPr id="50" name="object 26">
            <a:extLst>
              <a:ext uri="{FF2B5EF4-FFF2-40B4-BE49-F238E27FC236}">
                <a16:creationId xmlns:a16="http://schemas.microsoft.com/office/drawing/2014/main" id="{E594F0FA-1948-4611-B7DF-1824C9512EA5}"/>
              </a:ext>
            </a:extLst>
          </p:cNvPr>
          <p:cNvSpPr/>
          <p:nvPr/>
        </p:nvSpPr>
        <p:spPr>
          <a:xfrm>
            <a:off x="990810" y="2124278"/>
            <a:ext cx="2316101" cy="27451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latin typeface="Georgia" panose="02040502050405020303" pitchFamily="18" charset="0"/>
            </a:endParaRPr>
          </a:p>
        </p:txBody>
      </p:sp>
      <p:sp>
        <p:nvSpPr>
          <p:cNvPr id="52" name="object 27">
            <a:extLst>
              <a:ext uri="{FF2B5EF4-FFF2-40B4-BE49-F238E27FC236}">
                <a16:creationId xmlns:a16="http://schemas.microsoft.com/office/drawing/2014/main" id="{90A37020-9F19-496D-8756-91833D456548}"/>
              </a:ext>
            </a:extLst>
          </p:cNvPr>
          <p:cNvSpPr/>
          <p:nvPr/>
        </p:nvSpPr>
        <p:spPr>
          <a:xfrm>
            <a:off x="990809" y="2479878"/>
            <a:ext cx="2428090" cy="98571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0" dirty="0">
              <a:latin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9C2B46-690C-438A-ADCC-C653C2F5A1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1375" y="5550051"/>
            <a:ext cx="6581775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0655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A1E0FA54-3BCC-4760-AF19-9745F802B8CE}"/>
              </a:ext>
            </a:extLst>
          </p:cNvPr>
          <p:cNvSpPr/>
          <p:nvPr/>
        </p:nvSpPr>
        <p:spPr>
          <a:xfrm>
            <a:off x="1322755" y="1463536"/>
            <a:ext cx="121119" cy="16252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BFFFC594-DF92-4B57-88AF-F101819D84E2}"/>
              </a:ext>
            </a:extLst>
          </p:cNvPr>
          <p:cNvSpPr/>
          <p:nvPr/>
        </p:nvSpPr>
        <p:spPr>
          <a:xfrm>
            <a:off x="1466752" y="1474368"/>
            <a:ext cx="211519" cy="1540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A8DE596C-8660-4719-AE56-59BB6016EDD7}"/>
              </a:ext>
            </a:extLst>
          </p:cNvPr>
          <p:cNvSpPr/>
          <p:nvPr/>
        </p:nvSpPr>
        <p:spPr>
          <a:xfrm>
            <a:off x="1697356" y="1451928"/>
            <a:ext cx="141538" cy="1741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AB0A8321-B9C9-4A81-A596-3571D9813EF1}"/>
              </a:ext>
            </a:extLst>
          </p:cNvPr>
          <p:cNvSpPr/>
          <p:nvPr/>
        </p:nvSpPr>
        <p:spPr>
          <a:xfrm>
            <a:off x="1861887" y="1503058"/>
            <a:ext cx="98564" cy="12534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512D9632-A5F5-4AF6-B281-D6AA0F3398A7}"/>
              </a:ext>
            </a:extLst>
          </p:cNvPr>
          <p:cNvSpPr/>
          <p:nvPr/>
        </p:nvSpPr>
        <p:spPr>
          <a:xfrm>
            <a:off x="1986465" y="1503058"/>
            <a:ext cx="87947" cy="12534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047DFFD6-BAFB-49C8-9327-50D74B6C6730}"/>
              </a:ext>
            </a:extLst>
          </p:cNvPr>
          <p:cNvSpPr/>
          <p:nvPr/>
        </p:nvSpPr>
        <p:spPr>
          <a:xfrm>
            <a:off x="1681030" y="1393889"/>
            <a:ext cx="2083719" cy="602005"/>
          </a:xfrm>
          <a:prstGeom prst="rect">
            <a:avLst/>
          </a:prstGeom>
          <a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56C37A8E-3352-4F64-B741-450C942AC905}"/>
              </a:ext>
            </a:extLst>
          </p:cNvPr>
          <p:cNvSpPr/>
          <p:nvPr/>
        </p:nvSpPr>
        <p:spPr>
          <a:xfrm>
            <a:off x="1837088" y="2328760"/>
            <a:ext cx="2868503" cy="17519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9">
            <a:extLst>
              <a:ext uri="{FF2B5EF4-FFF2-40B4-BE49-F238E27FC236}">
                <a16:creationId xmlns:a16="http://schemas.microsoft.com/office/drawing/2014/main" id="{2F29E70D-0DAE-4DF4-9CAC-E966A5501398}"/>
              </a:ext>
            </a:extLst>
          </p:cNvPr>
          <p:cNvSpPr/>
          <p:nvPr/>
        </p:nvSpPr>
        <p:spPr>
          <a:xfrm>
            <a:off x="1765819" y="2597391"/>
            <a:ext cx="357592" cy="17326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0BB37BC4-D58A-4BE0-9416-3F1BAEC29902}"/>
              </a:ext>
            </a:extLst>
          </p:cNvPr>
          <p:cNvSpPr/>
          <p:nvPr/>
        </p:nvSpPr>
        <p:spPr>
          <a:xfrm>
            <a:off x="2175674" y="2637053"/>
            <a:ext cx="90170" cy="132080"/>
          </a:xfrm>
          <a:custGeom>
            <a:avLst/>
            <a:gdLst/>
            <a:ahLst/>
            <a:cxnLst/>
            <a:rect l="l" t="t" r="r" b="b"/>
            <a:pathLst>
              <a:path w="90169" h="132080">
                <a:moveTo>
                  <a:pt x="22834" y="1727"/>
                </a:moveTo>
                <a:lnTo>
                  <a:pt x="0" y="1727"/>
                </a:lnTo>
                <a:lnTo>
                  <a:pt x="0" y="9461"/>
                </a:lnTo>
                <a:lnTo>
                  <a:pt x="14147" y="10579"/>
                </a:lnTo>
                <a:lnTo>
                  <a:pt x="14147" y="122923"/>
                </a:lnTo>
                <a:lnTo>
                  <a:pt x="0" y="124053"/>
                </a:lnTo>
                <a:lnTo>
                  <a:pt x="0" y="131775"/>
                </a:lnTo>
                <a:lnTo>
                  <a:pt x="38633" y="131775"/>
                </a:lnTo>
                <a:lnTo>
                  <a:pt x="38633" y="124053"/>
                </a:lnTo>
                <a:lnTo>
                  <a:pt x="24485" y="122923"/>
                </a:lnTo>
                <a:lnTo>
                  <a:pt x="24485" y="82994"/>
                </a:lnTo>
                <a:lnTo>
                  <a:pt x="32796" y="82994"/>
                </a:lnTo>
                <a:lnTo>
                  <a:pt x="30289" y="81343"/>
                </a:lnTo>
                <a:lnTo>
                  <a:pt x="26860" y="77279"/>
                </a:lnTo>
                <a:lnTo>
                  <a:pt x="24485" y="72135"/>
                </a:lnTo>
                <a:lnTo>
                  <a:pt x="24485" y="26987"/>
                </a:lnTo>
                <a:lnTo>
                  <a:pt x="26682" y="21678"/>
                </a:lnTo>
                <a:lnTo>
                  <a:pt x="29959" y="17348"/>
                </a:lnTo>
                <a:lnTo>
                  <a:pt x="31309" y="16319"/>
                </a:lnTo>
                <a:lnTo>
                  <a:pt x="24130" y="16319"/>
                </a:lnTo>
                <a:lnTo>
                  <a:pt x="22834" y="1727"/>
                </a:lnTo>
                <a:close/>
              </a:path>
              <a:path w="90169" h="132080">
                <a:moveTo>
                  <a:pt x="32796" y="82994"/>
                </a:moveTo>
                <a:lnTo>
                  <a:pt x="24485" y="82994"/>
                </a:lnTo>
                <a:lnTo>
                  <a:pt x="27609" y="87617"/>
                </a:lnTo>
                <a:lnTo>
                  <a:pt x="31648" y="91185"/>
                </a:lnTo>
                <a:lnTo>
                  <a:pt x="41541" y="96227"/>
                </a:lnTo>
                <a:lnTo>
                  <a:pt x="47320" y="97485"/>
                </a:lnTo>
                <a:lnTo>
                  <a:pt x="53911" y="97485"/>
                </a:lnTo>
                <a:lnTo>
                  <a:pt x="61835" y="96701"/>
                </a:lnTo>
                <a:lnTo>
                  <a:pt x="68862" y="94349"/>
                </a:lnTo>
                <a:lnTo>
                  <a:pt x="74989" y="90428"/>
                </a:lnTo>
                <a:lnTo>
                  <a:pt x="76612" y="88722"/>
                </a:lnTo>
                <a:lnTo>
                  <a:pt x="44856" y="88722"/>
                </a:lnTo>
                <a:lnTo>
                  <a:pt x="39255" y="87248"/>
                </a:lnTo>
                <a:lnTo>
                  <a:pt x="32796" y="82994"/>
                </a:lnTo>
                <a:close/>
              </a:path>
              <a:path w="90169" h="132080">
                <a:moveTo>
                  <a:pt x="76241" y="9016"/>
                </a:moveTo>
                <a:lnTo>
                  <a:pt x="60540" y="9016"/>
                </a:lnTo>
                <a:lnTo>
                  <a:pt x="67487" y="12776"/>
                </a:lnTo>
                <a:lnTo>
                  <a:pt x="72224" y="20307"/>
                </a:lnTo>
                <a:lnTo>
                  <a:pt x="75341" y="26367"/>
                </a:lnTo>
                <a:lnTo>
                  <a:pt x="77568" y="33250"/>
                </a:lnTo>
                <a:lnTo>
                  <a:pt x="78904" y="40954"/>
                </a:lnTo>
                <a:lnTo>
                  <a:pt x="79349" y="49479"/>
                </a:lnTo>
                <a:lnTo>
                  <a:pt x="79349" y="51307"/>
                </a:lnTo>
                <a:lnTo>
                  <a:pt x="60655" y="88722"/>
                </a:lnTo>
                <a:lnTo>
                  <a:pt x="76612" y="88722"/>
                </a:lnTo>
                <a:lnTo>
                  <a:pt x="89763" y="51307"/>
                </a:lnTo>
                <a:lnTo>
                  <a:pt x="89763" y="49479"/>
                </a:lnTo>
                <a:lnTo>
                  <a:pt x="89167" y="38794"/>
                </a:lnTo>
                <a:lnTo>
                  <a:pt x="87379" y="29236"/>
                </a:lnTo>
                <a:lnTo>
                  <a:pt x="84395" y="20805"/>
                </a:lnTo>
                <a:lnTo>
                  <a:pt x="80213" y="13500"/>
                </a:lnTo>
                <a:lnTo>
                  <a:pt x="76241" y="9016"/>
                </a:lnTo>
                <a:close/>
              </a:path>
              <a:path w="90169" h="132080">
                <a:moveTo>
                  <a:pt x="53733" y="0"/>
                </a:moveTo>
                <a:lnTo>
                  <a:pt x="47078" y="0"/>
                </a:lnTo>
                <a:lnTo>
                  <a:pt x="41275" y="1409"/>
                </a:lnTo>
                <a:lnTo>
                  <a:pt x="31381" y="7086"/>
                </a:lnTo>
                <a:lnTo>
                  <a:pt x="27317" y="11112"/>
                </a:lnTo>
                <a:lnTo>
                  <a:pt x="24130" y="16319"/>
                </a:lnTo>
                <a:lnTo>
                  <a:pt x="31309" y="16319"/>
                </a:lnTo>
                <a:lnTo>
                  <a:pt x="38709" y="10680"/>
                </a:lnTo>
                <a:lnTo>
                  <a:pt x="44399" y="9016"/>
                </a:lnTo>
                <a:lnTo>
                  <a:pt x="76241" y="9016"/>
                </a:lnTo>
                <a:lnTo>
                  <a:pt x="74979" y="7592"/>
                </a:lnTo>
                <a:lnTo>
                  <a:pt x="68821" y="3373"/>
                </a:lnTo>
                <a:lnTo>
                  <a:pt x="61739" y="843"/>
                </a:lnTo>
                <a:lnTo>
                  <a:pt x="5373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11">
            <a:extLst>
              <a:ext uri="{FF2B5EF4-FFF2-40B4-BE49-F238E27FC236}">
                <a16:creationId xmlns:a16="http://schemas.microsoft.com/office/drawing/2014/main" id="{A729B7D3-08AC-4B1B-82DB-A3B5FBCA1DD9}"/>
              </a:ext>
            </a:extLst>
          </p:cNvPr>
          <p:cNvSpPr/>
          <p:nvPr/>
        </p:nvSpPr>
        <p:spPr>
          <a:xfrm>
            <a:off x="2282380" y="26370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4" h="97789">
                <a:moveTo>
                  <a:pt x="41490" y="0"/>
                </a:moveTo>
                <a:lnTo>
                  <a:pt x="6391" y="20391"/>
                </a:lnTo>
                <a:lnTo>
                  <a:pt x="0" y="47307"/>
                </a:lnTo>
                <a:lnTo>
                  <a:pt x="0" y="50177"/>
                </a:lnTo>
                <a:lnTo>
                  <a:pt x="17524" y="90045"/>
                </a:lnTo>
                <a:lnTo>
                  <a:pt x="41668" y="97497"/>
                </a:lnTo>
                <a:lnTo>
                  <a:pt x="50579" y="96669"/>
                </a:lnTo>
                <a:lnTo>
                  <a:pt x="58564" y="94184"/>
                </a:lnTo>
                <a:lnTo>
                  <a:pt x="65623" y="90045"/>
                </a:lnTo>
                <a:lnTo>
                  <a:pt x="67023" y="88722"/>
                </a:lnTo>
                <a:lnTo>
                  <a:pt x="41668" y="88722"/>
                </a:lnTo>
                <a:lnTo>
                  <a:pt x="34695" y="88027"/>
                </a:lnTo>
                <a:lnTo>
                  <a:pt x="10928" y="58009"/>
                </a:lnTo>
                <a:lnTo>
                  <a:pt x="10413" y="50177"/>
                </a:lnTo>
                <a:lnTo>
                  <a:pt x="10413" y="47307"/>
                </a:lnTo>
                <a:lnTo>
                  <a:pt x="28497" y="11652"/>
                </a:lnTo>
                <a:lnTo>
                  <a:pt x="41490" y="8851"/>
                </a:lnTo>
                <a:lnTo>
                  <a:pt x="67014" y="8851"/>
                </a:lnTo>
                <a:lnTo>
                  <a:pt x="65551" y="7468"/>
                </a:lnTo>
                <a:lnTo>
                  <a:pt x="58464" y="3317"/>
                </a:lnTo>
                <a:lnTo>
                  <a:pt x="50444" y="829"/>
                </a:lnTo>
                <a:lnTo>
                  <a:pt x="41490" y="0"/>
                </a:lnTo>
                <a:close/>
              </a:path>
              <a:path w="83184" h="97789">
                <a:moveTo>
                  <a:pt x="67014" y="8851"/>
                </a:moveTo>
                <a:lnTo>
                  <a:pt x="41490" y="8851"/>
                </a:lnTo>
                <a:lnTo>
                  <a:pt x="48392" y="9551"/>
                </a:lnTo>
                <a:lnTo>
                  <a:pt x="54505" y="11652"/>
                </a:lnTo>
                <a:lnTo>
                  <a:pt x="72656" y="47307"/>
                </a:lnTo>
                <a:lnTo>
                  <a:pt x="72656" y="50177"/>
                </a:lnTo>
                <a:lnTo>
                  <a:pt x="51333" y="88722"/>
                </a:lnTo>
                <a:lnTo>
                  <a:pt x="67023" y="88722"/>
                </a:lnTo>
                <a:lnTo>
                  <a:pt x="83083" y="50177"/>
                </a:lnTo>
                <a:lnTo>
                  <a:pt x="83083" y="47307"/>
                </a:lnTo>
                <a:lnTo>
                  <a:pt x="82371" y="37406"/>
                </a:lnTo>
                <a:lnTo>
                  <a:pt x="80237" y="28433"/>
                </a:lnTo>
                <a:lnTo>
                  <a:pt x="76680" y="20391"/>
                </a:lnTo>
                <a:lnTo>
                  <a:pt x="71704" y="13284"/>
                </a:lnTo>
                <a:lnTo>
                  <a:pt x="67014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B65E2A9C-FD09-4A43-82DE-A207655BDED6}"/>
              </a:ext>
            </a:extLst>
          </p:cNvPr>
          <p:cNvSpPr/>
          <p:nvPr/>
        </p:nvSpPr>
        <p:spPr>
          <a:xfrm>
            <a:off x="2379610" y="2637053"/>
            <a:ext cx="90170" cy="132080"/>
          </a:xfrm>
          <a:custGeom>
            <a:avLst/>
            <a:gdLst/>
            <a:ahLst/>
            <a:cxnLst/>
            <a:rect l="l" t="t" r="r" b="b"/>
            <a:pathLst>
              <a:path w="90169" h="132080">
                <a:moveTo>
                  <a:pt x="22834" y="1727"/>
                </a:moveTo>
                <a:lnTo>
                  <a:pt x="0" y="1727"/>
                </a:lnTo>
                <a:lnTo>
                  <a:pt x="0" y="9461"/>
                </a:lnTo>
                <a:lnTo>
                  <a:pt x="14147" y="10579"/>
                </a:lnTo>
                <a:lnTo>
                  <a:pt x="14147" y="122923"/>
                </a:lnTo>
                <a:lnTo>
                  <a:pt x="0" y="124053"/>
                </a:lnTo>
                <a:lnTo>
                  <a:pt x="0" y="131775"/>
                </a:lnTo>
                <a:lnTo>
                  <a:pt x="38633" y="131775"/>
                </a:lnTo>
                <a:lnTo>
                  <a:pt x="38633" y="124053"/>
                </a:lnTo>
                <a:lnTo>
                  <a:pt x="24485" y="122923"/>
                </a:lnTo>
                <a:lnTo>
                  <a:pt x="24485" y="82994"/>
                </a:lnTo>
                <a:lnTo>
                  <a:pt x="32796" y="82994"/>
                </a:lnTo>
                <a:lnTo>
                  <a:pt x="30289" y="81343"/>
                </a:lnTo>
                <a:lnTo>
                  <a:pt x="26860" y="77279"/>
                </a:lnTo>
                <a:lnTo>
                  <a:pt x="24485" y="72135"/>
                </a:lnTo>
                <a:lnTo>
                  <a:pt x="24485" y="26987"/>
                </a:lnTo>
                <a:lnTo>
                  <a:pt x="26682" y="21678"/>
                </a:lnTo>
                <a:lnTo>
                  <a:pt x="29959" y="17348"/>
                </a:lnTo>
                <a:lnTo>
                  <a:pt x="31309" y="16319"/>
                </a:lnTo>
                <a:lnTo>
                  <a:pt x="24130" y="16319"/>
                </a:lnTo>
                <a:lnTo>
                  <a:pt x="22834" y="1727"/>
                </a:lnTo>
                <a:close/>
              </a:path>
              <a:path w="90169" h="132080">
                <a:moveTo>
                  <a:pt x="32796" y="82994"/>
                </a:moveTo>
                <a:lnTo>
                  <a:pt x="24485" y="82994"/>
                </a:lnTo>
                <a:lnTo>
                  <a:pt x="27609" y="87617"/>
                </a:lnTo>
                <a:lnTo>
                  <a:pt x="31648" y="91185"/>
                </a:lnTo>
                <a:lnTo>
                  <a:pt x="41541" y="96227"/>
                </a:lnTo>
                <a:lnTo>
                  <a:pt x="47320" y="97485"/>
                </a:lnTo>
                <a:lnTo>
                  <a:pt x="53911" y="97485"/>
                </a:lnTo>
                <a:lnTo>
                  <a:pt x="61835" y="96701"/>
                </a:lnTo>
                <a:lnTo>
                  <a:pt x="68862" y="94349"/>
                </a:lnTo>
                <a:lnTo>
                  <a:pt x="74989" y="90428"/>
                </a:lnTo>
                <a:lnTo>
                  <a:pt x="76612" y="88722"/>
                </a:lnTo>
                <a:lnTo>
                  <a:pt x="44856" y="88722"/>
                </a:lnTo>
                <a:lnTo>
                  <a:pt x="39255" y="87248"/>
                </a:lnTo>
                <a:lnTo>
                  <a:pt x="32796" y="82994"/>
                </a:lnTo>
                <a:close/>
              </a:path>
              <a:path w="90169" h="132080">
                <a:moveTo>
                  <a:pt x="76241" y="9016"/>
                </a:moveTo>
                <a:lnTo>
                  <a:pt x="60540" y="9016"/>
                </a:lnTo>
                <a:lnTo>
                  <a:pt x="67487" y="12776"/>
                </a:lnTo>
                <a:lnTo>
                  <a:pt x="72224" y="20307"/>
                </a:lnTo>
                <a:lnTo>
                  <a:pt x="75341" y="26367"/>
                </a:lnTo>
                <a:lnTo>
                  <a:pt x="77568" y="33250"/>
                </a:lnTo>
                <a:lnTo>
                  <a:pt x="78904" y="40954"/>
                </a:lnTo>
                <a:lnTo>
                  <a:pt x="79349" y="49479"/>
                </a:lnTo>
                <a:lnTo>
                  <a:pt x="79349" y="51307"/>
                </a:lnTo>
                <a:lnTo>
                  <a:pt x="60655" y="88722"/>
                </a:lnTo>
                <a:lnTo>
                  <a:pt x="76612" y="88722"/>
                </a:lnTo>
                <a:lnTo>
                  <a:pt x="89763" y="51307"/>
                </a:lnTo>
                <a:lnTo>
                  <a:pt x="89763" y="49479"/>
                </a:lnTo>
                <a:lnTo>
                  <a:pt x="89167" y="38794"/>
                </a:lnTo>
                <a:lnTo>
                  <a:pt x="87379" y="29236"/>
                </a:lnTo>
                <a:lnTo>
                  <a:pt x="84395" y="20805"/>
                </a:lnTo>
                <a:lnTo>
                  <a:pt x="80213" y="13500"/>
                </a:lnTo>
                <a:lnTo>
                  <a:pt x="76241" y="9016"/>
                </a:lnTo>
                <a:close/>
              </a:path>
              <a:path w="90169" h="132080">
                <a:moveTo>
                  <a:pt x="53733" y="0"/>
                </a:moveTo>
                <a:lnTo>
                  <a:pt x="47078" y="0"/>
                </a:lnTo>
                <a:lnTo>
                  <a:pt x="41275" y="1409"/>
                </a:lnTo>
                <a:lnTo>
                  <a:pt x="31381" y="7086"/>
                </a:lnTo>
                <a:lnTo>
                  <a:pt x="27317" y="11112"/>
                </a:lnTo>
                <a:lnTo>
                  <a:pt x="24130" y="16319"/>
                </a:lnTo>
                <a:lnTo>
                  <a:pt x="31309" y="16319"/>
                </a:lnTo>
                <a:lnTo>
                  <a:pt x="38709" y="10680"/>
                </a:lnTo>
                <a:lnTo>
                  <a:pt x="44399" y="9016"/>
                </a:lnTo>
                <a:lnTo>
                  <a:pt x="76241" y="9016"/>
                </a:lnTo>
                <a:lnTo>
                  <a:pt x="74979" y="7592"/>
                </a:lnTo>
                <a:lnTo>
                  <a:pt x="68821" y="3373"/>
                </a:lnTo>
                <a:lnTo>
                  <a:pt x="61739" y="843"/>
                </a:lnTo>
                <a:lnTo>
                  <a:pt x="5373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13">
            <a:extLst>
              <a:ext uri="{FF2B5EF4-FFF2-40B4-BE49-F238E27FC236}">
                <a16:creationId xmlns:a16="http://schemas.microsoft.com/office/drawing/2014/main" id="{8E3D7666-0AE7-44F6-9B5E-06765B2602F7}"/>
              </a:ext>
            </a:extLst>
          </p:cNvPr>
          <p:cNvSpPr/>
          <p:nvPr/>
        </p:nvSpPr>
        <p:spPr>
          <a:xfrm>
            <a:off x="2481884" y="2638781"/>
            <a:ext cx="96520" cy="95885"/>
          </a:xfrm>
          <a:custGeom>
            <a:avLst/>
            <a:gdLst/>
            <a:ahLst/>
            <a:cxnLst/>
            <a:rect l="l" t="t" r="r" b="b"/>
            <a:pathLst>
              <a:path w="96519" h="95885">
                <a:moveTo>
                  <a:pt x="21958" y="0"/>
                </a:moveTo>
                <a:lnTo>
                  <a:pt x="0" y="0"/>
                </a:lnTo>
                <a:lnTo>
                  <a:pt x="0" y="7734"/>
                </a:lnTo>
                <a:lnTo>
                  <a:pt x="11633" y="8864"/>
                </a:lnTo>
                <a:lnTo>
                  <a:pt x="11633" y="54432"/>
                </a:lnTo>
                <a:lnTo>
                  <a:pt x="25590" y="92405"/>
                </a:lnTo>
                <a:lnTo>
                  <a:pt x="33337" y="95757"/>
                </a:lnTo>
                <a:lnTo>
                  <a:pt x="50177" y="95757"/>
                </a:lnTo>
                <a:lnTo>
                  <a:pt x="56210" y="94259"/>
                </a:lnTo>
                <a:lnTo>
                  <a:pt x="66459" y="88239"/>
                </a:lnTo>
                <a:lnTo>
                  <a:pt x="67893" y="86728"/>
                </a:lnTo>
                <a:lnTo>
                  <a:pt x="37274" y="86728"/>
                </a:lnTo>
                <a:lnTo>
                  <a:pt x="31724" y="84239"/>
                </a:lnTo>
                <a:lnTo>
                  <a:pt x="23914" y="74294"/>
                </a:lnTo>
                <a:lnTo>
                  <a:pt x="21958" y="66065"/>
                </a:lnTo>
                <a:lnTo>
                  <a:pt x="21958" y="0"/>
                </a:lnTo>
                <a:close/>
              </a:path>
              <a:path w="96519" h="95885">
                <a:moveTo>
                  <a:pt x="83515" y="78485"/>
                </a:moveTo>
                <a:lnTo>
                  <a:pt x="73444" y="78485"/>
                </a:lnTo>
                <a:lnTo>
                  <a:pt x="74396" y="93941"/>
                </a:lnTo>
                <a:lnTo>
                  <a:pt x="96100" y="93941"/>
                </a:lnTo>
                <a:lnTo>
                  <a:pt x="96100" y="86296"/>
                </a:lnTo>
                <a:lnTo>
                  <a:pt x="83515" y="85166"/>
                </a:lnTo>
                <a:lnTo>
                  <a:pt x="83515" y="78485"/>
                </a:lnTo>
                <a:close/>
              </a:path>
              <a:path w="96519" h="95885">
                <a:moveTo>
                  <a:pt x="83515" y="0"/>
                </a:moveTo>
                <a:lnTo>
                  <a:pt x="59728" y="0"/>
                </a:lnTo>
                <a:lnTo>
                  <a:pt x="59728" y="7734"/>
                </a:lnTo>
                <a:lnTo>
                  <a:pt x="73101" y="8864"/>
                </a:lnTo>
                <a:lnTo>
                  <a:pt x="73101" y="67106"/>
                </a:lnTo>
                <a:lnTo>
                  <a:pt x="71183" y="73253"/>
                </a:lnTo>
                <a:lnTo>
                  <a:pt x="67894" y="78054"/>
                </a:lnTo>
                <a:lnTo>
                  <a:pt x="58585" y="85001"/>
                </a:lnTo>
                <a:lnTo>
                  <a:pt x="52311" y="86728"/>
                </a:lnTo>
                <a:lnTo>
                  <a:pt x="67893" y="86728"/>
                </a:lnTo>
                <a:lnTo>
                  <a:pt x="70497" y="83985"/>
                </a:lnTo>
                <a:lnTo>
                  <a:pt x="73444" y="78485"/>
                </a:lnTo>
                <a:lnTo>
                  <a:pt x="83515" y="78485"/>
                </a:lnTo>
                <a:lnTo>
                  <a:pt x="83515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14">
            <a:extLst>
              <a:ext uri="{FF2B5EF4-FFF2-40B4-BE49-F238E27FC236}">
                <a16:creationId xmlns:a16="http://schemas.microsoft.com/office/drawing/2014/main" id="{08B6BB9B-BA07-4ED0-81B3-2CB6B8C5D806}"/>
              </a:ext>
            </a:extLst>
          </p:cNvPr>
          <p:cNvSpPr/>
          <p:nvPr/>
        </p:nvSpPr>
        <p:spPr>
          <a:xfrm>
            <a:off x="2591181" y="2597290"/>
            <a:ext cx="1441411" cy="13726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6D2CBADE-150E-4380-A2C5-CFB78C23A6DA}"/>
              </a:ext>
            </a:extLst>
          </p:cNvPr>
          <p:cNvSpPr/>
          <p:nvPr/>
        </p:nvSpPr>
        <p:spPr>
          <a:xfrm>
            <a:off x="3949864" y="2597391"/>
            <a:ext cx="322516" cy="13716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16">
            <a:extLst>
              <a:ext uri="{FF2B5EF4-FFF2-40B4-BE49-F238E27FC236}">
                <a16:creationId xmlns:a16="http://schemas.microsoft.com/office/drawing/2014/main" id="{F04C2C26-93C6-4A9F-81CB-F475E8164922}"/>
              </a:ext>
            </a:extLst>
          </p:cNvPr>
          <p:cNvSpPr/>
          <p:nvPr/>
        </p:nvSpPr>
        <p:spPr>
          <a:xfrm>
            <a:off x="4334191" y="2614740"/>
            <a:ext cx="371398" cy="11981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17">
            <a:extLst>
              <a:ext uri="{FF2B5EF4-FFF2-40B4-BE49-F238E27FC236}">
                <a16:creationId xmlns:a16="http://schemas.microsoft.com/office/drawing/2014/main" id="{765C87B3-5F35-4532-819D-113962967393}"/>
              </a:ext>
            </a:extLst>
          </p:cNvPr>
          <p:cNvSpPr/>
          <p:nvPr/>
        </p:nvSpPr>
        <p:spPr>
          <a:xfrm>
            <a:off x="1698016" y="2903754"/>
            <a:ext cx="75615" cy="133603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18">
            <a:extLst>
              <a:ext uri="{FF2B5EF4-FFF2-40B4-BE49-F238E27FC236}">
                <a16:creationId xmlns:a16="http://schemas.microsoft.com/office/drawing/2014/main" id="{14CEB289-B89A-44E4-9075-194640C0B0A3}"/>
              </a:ext>
            </a:extLst>
          </p:cNvPr>
          <p:cNvSpPr/>
          <p:nvPr/>
        </p:nvSpPr>
        <p:spPr>
          <a:xfrm>
            <a:off x="1797680" y="2863990"/>
            <a:ext cx="467593" cy="17336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19">
            <a:extLst>
              <a:ext uri="{FF2B5EF4-FFF2-40B4-BE49-F238E27FC236}">
                <a16:creationId xmlns:a16="http://schemas.microsoft.com/office/drawing/2014/main" id="{2E006DA6-70D2-4ADE-A4F1-47002281C0C9}"/>
              </a:ext>
            </a:extLst>
          </p:cNvPr>
          <p:cNvSpPr/>
          <p:nvPr/>
        </p:nvSpPr>
        <p:spPr>
          <a:xfrm>
            <a:off x="2332558" y="2903753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4" h="97789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4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4" h="97789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4" h="97789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9" name="object 20">
            <a:extLst>
              <a:ext uri="{FF2B5EF4-FFF2-40B4-BE49-F238E27FC236}">
                <a16:creationId xmlns:a16="http://schemas.microsoft.com/office/drawing/2014/main" id="{EA037752-7E05-40B6-8E5F-036971B964FE}"/>
              </a:ext>
            </a:extLst>
          </p:cNvPr>
          <p:cNvSpPr/>
          <p:nvPr/>
        </p:nvSpPr>
        <p:spPr>
          <a:xfrm>
            <a:off x="2422245" y="2905493"/>
            <a:ext cx="94615" cy="132080"/>
          </a:xfrm>
          <a:custGeom>
            <a:avLst/>
            <a:gdLst/>
            <a:ahLst/>
            <a:cxnLst/>
            <a:rect l="l" t="t" r="r" b="b"/>
            <a:pathLst>
              <a:path w="94614" h="132080">
                <a:moveTo>
                  <a:pt x="13538" y="121970"/>
                </a:moveTo>
                <a:lnTo>
                  <a:pt x="12319" y="130657"/>
                </a:lnTo>
                <a:lnTo>
                  <a:pt x="13131" y="130936"/>
                </a:lnTo>
                <a:lnTo>
                  <a:pt x="14401" y="131229"/>
                </a:lnTo>
                <a:lnTo>
                  <a:pt x="16141" y="131470"/>
                </a:lnTo>
                <a:lnTo>
                  <a:pt x="17881" y="131749"/>
                </a:lnTo>
                <a:lnTo>
                  <a:pt x="19354" y="131864"/>
                </a:lnTo>
                <a:lnTo>
                  <a:pt x="28041" y="131864"/>
                </a:lnTo>
                <a:lnTo>
                  <a:pt x="33705" y="129641"/>
                </a:lnTo>
                <a:lnTo>
                  <a:pt x="39851" y="122580"/>
                </a:lnTo>
                <a:lnTo>
                  <a:pt x="19494" y="122580"/>
                </a:lnTo>
                <a:lnTo>
                  <a:pt x="18415" y="122504"/>
                </a:lnTo>
                <a:lnTo>
                  <a:pt x="15354" y="122224"/>
                </a:lnTo>
                <a:lnTo>
                  <a:pt x="14236" y="122085"/>
                </a:lnTo>
                <a:lnTo>
                  <a:pt x="13538" y="121970"/>
                </a:lnTo>
                <a:close/>
              </a:path>
              <a:path w="94614" h="132080">
                <a:moveTo>
                  <a:pt x="32296" y="0"/>
                </a:moveTo>
                <a:lnTo>
                  <a:pt x="0" y="0"/>
                </a:lnTo>
                <a:lnTo>
                  <a:pt x="0" y="7721"/>
                </a:lnTo>
                <a:lnTo>
                  <a:pt x="9550" y="8508"/>
                </a:lnTo>
                <a:lnTo>
                  <a:pt x="42887" y="92798"/>
                </a:lnTo>
                <a:lnTo>
                  <a:pt x="24701" y="122580"/>
                </a:lnTo>
                <a:lnTo>
                  <a:pt x="39851" y="122580"/>
                </a:lnTo>
                <a:lnTo>
                  <a:pt x="41465" y="120726"/>
                </a:lnTo>
                <a:lnTo>
                  <a:pt x="44615" y="115315"/>
                </a:lnTo>
                <a:lnTo>
                  <a:pt x="47053" y="108953"/>
                </a:lnTo>
                <a:lnTo>
                  <a:pt x="58070" y="79781"/>
                </a:lnTo>
                <a:lnTo>
                  <a:pt x="47307" y="79781"/>
                </a:lnTo>
                <a:lnTo>
                  <a:pt x="44005" y="68491"/>
                </a:lnTo>
                <a:lnTo>
                  <a:pt x="21094" y="8585"/>
                </a:lnTo>
                <a:lnTo>
                  <a:pt x="32296" y="7721"/>
                </a:lnTo>
                <a:lnTo>
                  <a:pt x="32296" y="0"/>
                </a:lnTo>
                <a:close/>
              </a:path>
              <a:path w="94614" h="132080">
                <a:moveTo>
                  <a:pt x="94538" y="0"/>
                </a:moveTo>
                <a:lnTo>
                  <a:pt x="62064" y="0"/>
                </a:lnTo>
                <a:lnTo>
                  <a:pt x="62064" y="7721"/>
                </a:lnTo>
                <a:lnTo>
                  <a:pt x="73533" y="8585"/>
                </a:lnTo>
                <a:lnTo>
                  <a:pt x="47828" y="79781"/>
                </a:lnTo>
                <a:lnTo>
                  <a:pt x="58070" y="79781"/>
                </a:lnTo>
                <a:lnTo>
                  <a:pt x="84988" y="8508"/>
                </a:lnTo>
                <a:lnTo>
                  <a:pt x="94538" y="7721"/>
                </a:lnTo>
                <a:lnTo>
                  <a:pt x="94538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21">
            <a:extLst>
              <a:ext uri="{FF2B5EF4-FFF2-40B4-BE49-F238E27FC236}">
                <a16:creationId xmlns:a16="http://schemas.microsoft.com/office/drawing/2014/main" id="{847F6A0F-C8BF-4547-9DAA-4DEC6815598B}"/>
              </a:ext>
            </a:extLst>
          </p:cNvPr>
          <p:cNvSpPr/>
          <p:nvPr/>
        </p:nvSpPr>
        <p:spPr>
          <a:xfrm>
            <a:off x="2527897" y="2903753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89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3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89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89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3" name="object 22">
            <a:extLst>
              <a:ext uri="{FF2B5EF4-FFF2-40B4-BE49-F238E27FC236}">
                <a16:creationId xmlns:a16="http://schemas.microsoft.com/office/drawing/2014/main" id="{CF238A1C-99A4-4533-A806-422ADB713411}"/>
              </a:ext>
            </a:extLst>
          </p:cNvPr>
          <p:cNvSpPr/>
          <p:nvPr/>
        </p:nvSpPr>
        <p:spPr>
          <a:xfrm>
            <a:off x="2614014" y="2863990"/>
            <a:ext cx="90170" cy="137795"/>
          </a:xfrm>
          <a:custGeom>
            <a:avLst/>
            <a:gdLst/>
            <a:ahLst/>
            <a:cxnLst/>
            <a:rect l="l" t="t" r="r" b="b"/>
            <a:pathLst>
              <a:path w="90169" h="137794">
                <a:moveTo>
                  <a:pt x="31801" y="121272"/>
                </a:moveTo>
                <a:lnTo>
                  <a:pt x="24129" y="121272"/>
                </a:lnTo>
                <a:lnTo>
                  <a:pt x="27203" y="126428"/>
                </a:lnTo>
                <a:lnTo>
                  <a:pt x="31216" y="130378"/>
                </a:lnTo>
                <a:lnTo>
                  <a:pt x="41186" y="135877"/>
                </a:lnTo>
                <a:lnTo>
                  <a:pt x="47104" y="137248"/>
                </a:lnTo>
                <a:lnTo>
                  <a:pt x="54000" y="137248"/>
                </a:lnTo>
                <a:lnTo>
                  <a:pt x="61924" y="136465"/>
                </a:lnTo>
                <a:lnTo>
                  <a:pt x="68951" y="134113"/>
                </a:lnTo>
                <a:lnTo>
                  <a:pt x="75078" y="130192"/>
                </a:lnTo>
                <a:lnTo>
                  <a:pt x="76955" y="128219"/>
                </a:lnTo>
                <a:lnTo>
                  <a:pt x="45199" y="128219"/>
                </a:lnTo>
                <a:lnTo>
                  <a:pt x="39458" y="126606"/>
                </a:lnTo>
                <a:lnTo>
                  <a:pt x="31801" y="121272"/>
                </a:lnTo>
                <a:close/>
              </a:path>
              <a:path w="90169" h="137794">
                <a:moveTo>
                  <a:pt x="24485" y="0"/>
                </a:moveTo>
                <a:lnTo>
                  <a:pt x="0" y="0"/>
                </a:lnTo>
                <a:lnTo>
                  <a:pt x="0" y="7721"/>
                </a:lnTo>
                <a:lnTo>
                  <a:pt x="14147" y="8851"/>
                </a:lnTo>
                <a:lnTo>
                  <a:pt x="14147" y="135432"/>
                </a:lnTo>
                <a:lnTo>
                  <a:pt x="22999" y="135432"/>
                </a:lnTo>
                <a:lnTo>
                  <a:pt x="24129" y="121272"/>
                </a:lnTo>
                <a:lnTo>
                  <a:pt x="31801" y="121272"/>
                </a:lnTo>
                <a:lnTo>
                  <a:pt x="30251" y="120192"/>
                </a:lnTo>
                <a:lnTo>
                  <a:pt x="26796" y="115874"/>
                </a:lnTo>
                <a:lnTo>
                  <a:pt x="24485" y="110426"/>
                </a:lnTo>
                <a:lnTo>
                  <a:pt x="24485" y="67970"/>
                </a:lnTo>
                <a:lnTo>
                  <a:pt x="26619" y="62357"/>
                </a:lnTo>
                <a:lnTo>
                  <a:pt x="29908" y="57759"/>
                </a:lnTo>
                <a:lnTo>
                  <a:pt x="31772" y="56248"/>
                </a:lnTo>
                <a:lnTo>
                  <a:pt x="24485" y="56248"/>
                </a:lnTo>
                <a:lnTo>
                  <a:pt x="24485" y="0"/>
                </a:lnTo>
                <a:close/>
              </a:path>
              <a:path w="90169" h="137794">
                <a:moveTo>
                  <a:pt x="76330" y="48780"/>
                </a:moveTo>
                <a:lnTo>
                  <a:pt x="60947" y="48780"/>
                </a:lnTo>
                <a:lnTo>
                  <a:pt x="67767" y="52527"/>
                </a:lnTo>
                <a:lnTo>
                  <a:pt x="72402" y="60032"/>
                </a:lnTo>
                <a:lnTo>
                  <a:pt x="75443" y="66073"/>
                </a:lnTo>
                <a:lnTo>
                  <a:pt x="77614" y="72956"/>
                </a:lnTo>
                <a:lnTo>
                  <a:pt x="78916" y="80680"/>
                </a:lnTo>
                <a:lnTo>
                  <a:pt x="79349" y="89242"/>
                </a:lnTo>
                <a:lnTo>
                  <a:pt x="79349" y="91071"/>
                </a:lnTo>
                <a:lnTo>
                  <a:pt x="61112" y="128219"/>
                </a:lnTo>
                <a:lnTo>
                  <a:pt x="76955" y="128219"/>
                </a:lnTo>
                <a:lnTo>
                  <a:pt x="89852" y="91071"/>
                </a:lnTo>
                <a:lnTo>
                  <a:pt x="89852" y="89242"/>
                </a:lnTo>
                <a:lnTo>
                  <a:pt x="89256" y="78558"/>
                </a:lnTo>
                <a:lnTo>
                  <a:pt x="87468" y="69000"/>
                </a:lnTo>
                <a:lnTo>
                  <a:pt x="84483" y="60569"/>
                </a:lnTo>
                <a:lnTo>
                  <a:pt x="80302" y="53263"/>
                </a:lnTo>
                <a:lnTo>
                  <a:pt x="76330" y="48780"/>
                </a:lnTo>
                <a:close/>
              </a:path>
              <a:path w="90169" h="137794">
                <a:moveTo>
                  <a:pt x="53822" y="39763"/>
                </a:moveTo>
                <a:lnTo>
                  <a:pt x="47104" y="39763"/>
                </a:lnTo>
                <a:lnTo>
                  <a:pt x="41325" y="41186"/>
                </a:lnTo>
                <a:lnTo>
                  <a:pt x="31597" y="46913"/>
                </a:lnTo>
                <a:lnTo>
                  <a:pt x="27609" y="50977"/>
                </a:lnTo>
                <a:lnTo>
                  <a:pt x="24485" y="56248"/>
                </a:lnTo>
                <a:lnTo>
                  <a:pt x="31772" y="56248"/>
                </a:lnTo>
                <a:lnTo>
                  <a:pt x="38760" y="50584"/>
                </a:lnTo>
                <a:lnTo>
                  <a:pt x="44627" y="48780"/>
                </a:lnTo>
                <a:lnTo>
                  <a:pt x="76330" y="48780"/>
                </a:lnTo>
                <a:lnTo>
                  <a:pt x="75068" y="47355"/>
                </a:lnTo>
                <a:lnTo>
                  <a:pt x="68910" y="43137"/>
                </a:lnTo>
                <a:lnTo>
                  <a:pt x="61828" y="40606"/>
                </a:lnTo>
                <a:lnTo>
                  <a:pt x="53822" y="39763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23">
            <a:extLst>
              <a:ext uri="{FF2B5EF4-FFF2-40B4-BE49-F238E27FC236}">
                <a16:creationId xmlns:a16="http://schemas.microsoft.com/office/drawing/2014/main" id="{3BE04C4D-55E7-48C5-902B-0A69EA419D37}"/>
              </a:ext>
            </a:extLst>
          </p:cNvPr>
          <p:cNvSpPr/>
          <p:nvPr/>
        </p:nvSpPr>
        <p:spPr>
          <a:xfrm>
            <a:off x="2722105" y="29037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5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9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5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5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5" h="97789">
                <a:moveTo>
                  <a:pt x="38201" y="0"/>
                </a:moveTo>
                <a:lnTo>
                  <a:pt x="31369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2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7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24">
            <a:extLst>
              <a:ext uri="{FF2B5EF4-FFF2-40B4-BE49-F238E27FC236}">
                <a16:creationId xmlns:a16="http://schemas.microsoft.com/office/drawing/2014/main" id="{EC65BE6C-A575-4A9B-99F6-941F59601726}"/>
              </a:ext>
            </a:extLst>
          </p:cNvPr>
          <p:cNvSpPr/>
          <p:nvPr/>
        </p:nvSpPr>
        <p:spPr>
          <a:xfrm>
            <a:off x="2817507" y="2992361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19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25">
            <a:extLst>
              <a:ext uri="{FF2B5EF4-FFF2-40B4-BE49-F238E27FC236}">
                <a16:creationId xmlns:a16="http://schemas.microsoft.com/office/drawing/2014/main" id="{F4EA0789-FB77-4157-95F3-B20E39DF6000}"/>
              </a:ext>
            </a:extLst>
          </p:cNvPr>
          <p:cNvSpPr/>
          <p:nvPr/>
        </p:nvSpPr>
        <p:spPr>
          <a:xfrm>
            <a:off x="2818143" y="2991091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69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26">
            <a:extLst>
              <a:ext uri="{FF2B5EF4-FFF2-40B4-BE49-F238E27FC236}">
                <a16:creationId xmlns:a16="http://schemas.microsoft.com/office/drawing/2014/main" id="{6CAB2B93-32D1-4452-A4FD-DDDA68D93ECC}"/>
              </a:ext>
            </a:extLst>
          </p:cNvPr>
          <p:cNvSpPr/>
          <p:nvPr/>
        </p:nvSpPr>
        <p:spPr>
          <a:xfrm>
            <a:off x="2836823" y="2872981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27">
            <a:extLst>
              <a:ext uri="{FF2B5EF4-FFF2-40B4-BE49-F238E27FC236}">
                <a16:creationId xmlns:a16="http://schemas.microsoft.com/office/drawing/2014/main" id="{278EEE6B-F366-4C24-A64F-0DC4CBDC9EC7}"/>
              </a:ext>
            </a:extLst>
          </p:cNvPr>
          <p:cNvSpPr/>
          <p:nvPr/>
        </p:nvSpPr>
        <p:spPr>
          <a:xfrm>
            <a:off x="2825456" y="2871711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4" h="1269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5" name="object 28">
            <a:extLst>
              <a:ext uri="{FF2B5EF4-FFF2-40B4-BE49-F238E27FC236}">
                <a16:creationId xmlns:a16="http://schemas.microsoft.com/office/drawing/2014/main" id="{97989189-AAB7-46A0-9F83-49F0D3FC9C8C}"/>
              </a:ext>
            </a:extLst>
          </p:cNvPr>
          <p:cNvSpPr/>
          <p:nvPr/>
        </p:nvSpPr>
        <p:spPr>
          <a:xfrm>
            <a:off x="2817507" y="2864091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19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7" name="object 29">
            <a:extLst>
              <a:ext uri="{FF2B5EF4-FFF2-40B4-BE49-F238E27FC236}">
                <a16:creationId xmlns:a16="http://schemas.microsoft.com/office/drawing/2014/main" id="{146CD460-8132-49CE-88FF-6AA66469EF94}"/>
              </a:ext>
            </a:extLst>
          </p:cNvPr>
          <p:cNvSpPr/>
          <p:nvPr/>
        </p:nvSpPr>
        <p:spPr>
          <a:xfrm>
            <a:off x="2870466" y="2862160"/>
            <a:ext cx="1179055" cy="17519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9" name="object 30">
            <a:extLst>
              <a:ext uri="{FF2B5EF4-FFF2-40B4-BE49-F238E27FC236}">
                <a16:creationId xmlns:a16="http://schemas.microsoft.com/office/drawing/2014/main" id="{8D85DE85-1E3F-465B-9005-72EB06089C9A}"/>
              </a:ext>
            </a:extLst>
          </p:cNvPr>
          <p:cNvSpPr/>
          <p:nvPr/>
        </p:nvSpPr>
        <p:spPr>
          <a:xfrm>
            <a:off x="4061676" y="2992361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19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1" name="object 31">
            <a:extLst>
              <a:ext uri="{FF2B5EF4-FFF2-40B4-BE49-F238E27FC236}">
                <a16:creationId xmlns:a16="http://schemas.microsoft.com/office/drawing/2014/main" id="{640BA7A7-100E-478B-8D0E-F1B553384410}"/>
              </a:ext>
            </a:extLst>
          </p:cNvPr>
          <p:cNvSpPr/>
          <p:nvPr/>
        </p:nvSpPr>
        <p:spPr>
          <a:xfrm>
            <a:off x="4062312" y="2991091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69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3" name="object 32">
            <a:extLst>
              <a:ext uri="{FF2B5EF4-FFF2-40B4-BE49-F238E27FC236}">
                <a16:creationId xmlns:a16="http://schemas.microsoft.com/office/drawing/2014/main" id="{F0FE0123-9FF6-4E30-B108-BDF0E2A1DA74}"/>
              </a:ext>
            </a:extLst>
          </p:cNvPr>
          <p:cNvSpPr/>
          <p:nvPr/>
        </p:nvSpPr>
        <p:spPr>
          <a:xfrm>
            <a:off x="4080991" y="2872981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5" name="object 33">
            <a:extLst>
              <a:ext uri="{FF2B5EF4-FFF2-40B4-BE49-F238E27FC236}">
                <a16:creationId xmlns:a16="http://schemas.microsoft.com/office/drawing/2014/main" id="{E12EEEB5-ACD6-4468-A3B9-AC8D33453464}"/>
              </a:ext>
            </a:extLst>
          </p:cNvPr>
          <p:cNvSpPr/>
          <p:nvPr/>
        </p:nvSpPr>
        <p:spPr>
          <a:xfrm>
            <a:off x="4069624" y="2871711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4" h="1269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7" name="object 34">
            <a:extLst>
              <a:ext uri="{FF2B5EF4-FFF2-40B4-BE49-F238E27FC236}">
                <a16:creationId xmlns:a16="http://schemas.microsoft.com/office/drawing/2014/main" id="{3D22F26A-F45D-4ABC-9150-A9A1C6A1C244}"/>
              </a:ext>
            </a:extLst>
          </p:cNvPr>
          <p:cNvSpPr/>
          <p:nvPr/>
        </p:nvSpPr>
        <p:spPr>
          <a:xfrm>
            <a:off x="4061676" y="2864091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19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9" name="object 35">
            <a:extLst>
              <a:ext uri="{FF2B5EF4-FFF2-40B4-BE49-F238E27FC236}">
                <a16:creationId xmlns:a16="http://schemas.microsoft.com/office/drawing/2014/main" id="{85CEE5AF-0658-4345-B740-46115DC49DE8}"/>
              </a:ext>
            </a:extLst>
          </p:cNvPr>
          <p:cNvSpPr/>
          <p:nvPr/>
        </p:nvSpPr>
        <p:spPr>
          <a:xfrm>
            <a:off x="4117149" y="2903753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89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3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89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89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1" name="object 36">
            <a:extLst>
              <a:ext uri="{FF2B5EF4-FFF2-40B4-BE49-F238E27FC236}">
                <a16:creationId xmlns:a16="http://schemas.microsoft.com/office/drawing/2014/main" id="{2C065D56-AEB4-4BD5-B851-BFF1FF189C27}"/>
              </a:ext>
            </a:extLst>
          </p:cNvPr>
          <p:cNvSpPr/>
          <p:nvPr/>
        </p:nvSpPr>
        <p:spPr>
          <a:xfrm>
            <a:off x="4216552" y="2985185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5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3" name="object 37">
            <a:extLst>
              <a:ext uri="{FF2B5EF4-FFF2-40B4-BE49-F238E27FC236}">
                <a16:creationId xmlns:a16="http://schemas.microsoft.com/office/drawing/2014/main" id="{59D757E8-0D13-4E55-8C5A-F9AE15D7B8AD}"/>
              </a:ext>
            </a:extLst>
          </p:cNvPr>
          <p:cNvSpPr/>
          <p:nvPr/>
        </p:nvSpPr>
        <p:spPr>
          <a:xfrm>
            <a:off x="4293818" y="2873020"/>
            <a:ext cx="408736" cy="128231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5" name="object 38">
            <a:extLst>
              <a:ext uri="{FF2B5EF4-FFF2-40B4-BE49-F238E27FC236}">
                <a16:creationId xmlns:a16="http://schemas.microsoft.com/office/drawing/2014/main" id="{9E0BF921-6499-4AD1-BBC2-815D73B58395}"/>
              </a:ext>
            </a:extLst>
          </p:cNvPr>
          <p:cNvSpPr/>
          <p:nvPr/>
        </p:nvSpPr>
        <p:spPr>
          <a:xfrm>
            <a:off x="1822163" y="3170454"/>
            <a:ext cx="82727" cy="9749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7" name="object 39">
            <a:extLst>
              <a:ext uri="{FF2B5EF4-FFF2-40B4-BE49-F238E27FC236}">
                <a16:creationId xmlns:a16="http://schemas.microsoft.com/office/drawing/2014/main" id="{5B67C5EC-E2DB-4E85-8424-51662BF44C20}"/>
              </a:ext>
            </a:extLst>
          </p:cNvPr>
          <p:cNvSpPr/>
          <p:nvPr/>
        </p:nvSpPr>
        <p:spPr>
          <a:xfrm>
            <a:off x="1960806" y="3130690"/>
            <a:ext cx="1570073" cy="17336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9" name="object 40">
            <a:extLst>
              <a:ext uri="{FF2B5EF4-FFF2-40B4-BE49-F238E27FC236}">
                <a16:creationId xmlns:a16="http://schemas.microsoft.com/office/drawing/2014/main" id="{56C71AFC-53F3-4CBB-B414-7971C59D797A}"/>
              </a:ext>
            </a:extLst>
          </p:cNvPr>
          <p:cNvSpPr/>
          <p:nvPr/>
        </p:nvSpPr>
        <p:spPr>
          <a:xfrm>
            <a:off x="3594684" y="3130690"/>
            <a:ext cx="1110475" cy="173367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1" name="object 41">
            <a:extLst>
              <a:ext uri="{FF2B5EF4-FFF2-40B4-BE49-F238E27FC236}">
                <a16:creationId xmlns:a16="http://schemas.microsoft.com/office/drawing/2014/main" id="{8999C562-A3FD-493F-825B-00DAAD740F8E}"/>
              </a:ext>
            </a:extLst>
          </p:cNvPr>
          <p:cNvSpPr/>
          <p:nvPr/>
        </p:nvSpPr>
        <p:spPr>
          <a:xfrm>
            <a:off x="1685860" y="3397390"/>
            <a:ext cx="3016695" cy="13726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3" name="object 42">
            <a:extLst>
              <a:ext uri="{FF2B5EF4-FFF2-40B4-BE49-F238E27FC236}">
                <a16:creationId xmlns:a16="http://schemas.microsoft.com/office/drawing/2014/main" id="{08CD1089-5087-4C3C-998E-868F1E7D16A3}"/>
              </a:ext>
            </a:extLst>
          </p:cNvPr>
          <p:cNvSpPr/>
          <p:nvPr/>
        </p:nvSpPr>
        <p:spPr>
          <a:xfrm>
            <a:off x="2029563" y="3664090"/>
            <a:ext cx="746960" cy="173367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5" name="object 43">
            <a:extLst>
              <a:ext uri="{FF2B5EF4-FFF2-40B4-BE49-F238E27FC236}">
                <a16:creationId xmlns:a16="http://schemas.microsoft.com/office/drawing/2014/main" id="{C254B711-526D-4879-97FD-BAEE915F9BDF}"/>
              </a:ext>
            </a:extLst>
          </p:cNvPr>
          <p:cNvSpPr/>
          <p:nvPr/>
        </p:nvSpPr>
        <p:spPr>
          <a:xfrm>
            <a:off x="2799626" y="3785285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4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7" name="object 44">
            <a:extLst>
              <a:ext uri="{FF2B5EF4-FFF2-40B4-BE49-F238E27FC236}">
                <a16:creationId xmlns:a16="http://schemas.microsoft.com/office/drawing/2014/main" id="{01FFFFEA-5D88-499B-8563-B2760FCBF596}"/>
              </a:ext>
            </a:extLst>
          </p:cNvPr>
          <p:cNvSpPr/>
          <p:nvPr/>
        </p:nvSpPr>
        <p:spPr>
          <a:xfrm>
            <a:off x="2879673" y="3664090"/>
            <a:ext cx="1822526" cy="173367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9" name="object 45">
            <a:extLst>
              <a:ext uri="{FF2B5EF4-FFF2-40B4-BE49-F238E27FC236}">
                <a16:creationId xmlns:a16="http://schemas.microsoft.com/office/drawing/2014/main" id="{ABE15A20-5BFE-4060-8169-A82FB18EDEA3}"/>
              </a:ext>
            </a:extLst>
          </p:cNvPr>
          <p:cNvSpPr/>
          <p:nvPr/>
        </p:nvSpPr>
        <p:spPr>
          <a:xfrm>
            <a:off x="2117331" y="3930789"/>
            <a:ext cx="36195" cy="173990"/>
          </a:xfrm>
          <a:custGeom>
            <a:avLst/>
            <a:gdLst/>
            <a:ahLst/>
            <a:cxnLst/>
            <a:rect l="l" t="t" r="r" b="b"/>
            <a:pathLst>
              <a:path w="36194" h="173989">
                <a:moveTo>
                  <a:pt x="35509" y="0"/>
                </a:moveTo>
                <a:lnTo>
                  <a:pt x="25095" y="0"/>
                </a:lnTo>
                <a:lnTo>
                  <a:pt x="25095" y="14236"/>
                </a:lnTo>
                <a:lnTo>
                  <a:pt x="35509" y="14236"/>
                </a:lnTo>
                <a:lnTo>
                  <a:pt x="35509" y="0"/>
                </a:lnTo>
                <a:close/>
              </a:path>
              <a:path w="36194" h="173989">
                <a:moveTo>
                  <a:pt x="1130" y="162953"/>
                </a:moveTo>
                <a:lnTo>
                  <a:pt x="7937" y="173367"/>
                </a:lnTo>
                <a:lnTo>
                  <a:pt x="18008" y="173367"/>
                </a:lnTo>
                <a:lnTo>
                  <a:pt x="24460" y="170751"/>
                </a:lnTo>
                <a:lnTo>
                  <a:pt x="30205" y="164249"/>
                </a:lnTo>
                <a:lnTo>
                  <a:pt x="7848" y="164249"/>
                </a:lnTo>
                <a:lnTo>
                  <a:pt x="6413" y="164109"/>
                </a:lnTo>
                <a:lnTo>
                  <a:pt x="3225" y="163537"/>
                </a:lnTo>
                <a:lnTo>
                  <a:pt x="2006" y="163233"/>
                </a:lnTo>
                <a:lnTo>
                  <a:pt x="1130" y="162953"/>
                </a:lnTo>
                <a:close/>
              </a:path>
              <a:path w="36194" h="173989">
                <a:moveTo>
                  <a:pt x="36029" y="41490"/>
                </a:moveTo>
                <a:lnTo>
                  <a:pt x="11468" y="41490"/>
                </a:lnTo>
                <a:lnTo>
                  <a:pt x="11468" y="49225"/>
                </a:lnTo>
                <a:lnTo>
                  <a:pt x="25615" y="50355"/>
                </a:lnTo>
                <a:lnTo>
                  <a:pt x="25615" y="150101"/>
                </a:lnTo>
                <a:lnTo>
                  <a:pt x="24168" y="155359"/>
                </a:lnTo>
                <a:lnTo>
                  <a:pt x="18376" y="162483"/>
                </a:lnTo>
                <a:lnTo>
                  <a:pt x="14325" y="164249"/>
                </a:lnTo>
                <a:lnTo>
                  <a:pt x="30205" y="164249"/>
                </a:lnTo>
                <a:lnTo>
                  <a:pt x="33718" y="160273"/>
                </a:lnTo>
                <a:lnTo>
                  <a:pt x="36029" y="152819"/>
                </a:lnTo>
                <a:lnTo>
                  <a:pt x="36029" y="414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1" name="object 46">
            <a:extLst>
              <a:ext uri="{FF2B5EF4-FFF2-40B4-BE49-F238E27FC236}">
                <a16:creationId xmlns:a16="http://schemas.microsoft.com/office/drawing/2014/main" id="{58C8C992-C058-47B7-86D4-B7B7D8E38F3F}"/>
              </a:ext>
            </a:extLst>
          </p:cNvPr>
          <p:cNvSpPr/>
          <p:nvPr/>
        </p:nvSpPr>
        <p:spPr>
          <a:xfrm>
            <a:off x="2171254" y="3972281"/>
            <a:ext cx="96520" cy="95885"/>
          </a:xfrm>
          <a:custGeom>
            <a:avLst/>
            <a:gdLst/>
            <a:ahLst/>
            <a:cxnLst/>
            <a:rect l="l" t="t" r="r" b="b"/>
            <a:pathLst>
              <a:path w="96519" h="95885">
                <a:moveTo>
                  <a:pt x="21958" y="0"/>
                </a:moveTo>
                <a:lnTo>
                  <a:pt x="0" y="0"/>
                </a:lnTo>
                <a:lnTo>
                  <a:pt x="0" y="7734"/>
                </a:lnTo>
                <a:lnTo>
                  <a:pt x="11633" y="8864"/>
                </a:lnTo>
                <a:lnTo>
                  <a:pt x="11633" y="54432"/>
                </a:lnTo>
                <a:lnTo>
                  <a:pt x="25590" y="92405"/>
                </a:lnTo>
                <a:lnTo>
                  <a:pt x="33337" y="95758"/>
                </a:lnTo>
                <a:lnTo>
                  <a:pt x="50177" y="95758"/>
                </a:lnTo>
                <a:lnTo>
                  <a:pt x="56210" y="94259"/>
                </a:lnTo>
                <a:lnTo>
                  <a:pt x="66459" y="88239"/>
                </a:lnTo>
                <a:lnTo>
                  <a:pt x="67893" y="86728"/>
                </a:lnTo>
                <a:lnTo>
                  <a:pt x="37274" y="86728"/>
                </a:lnTo>
                <a:lnTo>
                  <a:pt x="31724" y="84239"/>
                </a:lnTo>
                <a:lnTo>
                  <a:pt x="23914" y="74295"/>
                </a:lnTo>
                <a:lnTo>
                  <a:pt x="21958" y="66065"/>
                </a:lnTo>
                <a:lnTo>
                  <a:pt x="21958" y="0"/>
                </a:lnTo>
                <a:close/>
              </a:path>
              <a:path w="96519" h="95885">
                <a:moveTo>
                  <a:pt x="83515" y="78486"/>
                </a:moveTo>
                <a:lnTo>
                  <a:pt x="73444" y="78486"/>
                </a:lnTo>
                <a:lnTo>
                  <a:pt x="74396" y="93941"/>
                </a:lnTo>
                <a:lnTo>
                  <a:pt x="96100" y="93941"/>
                </a:lnTo>
                <a:lnTo>
                  <a:pt x="96100" y="86296"/>
                </a:lnTo>
                <a:lnTo>
                  <a:pt x="83515" y="85166"/>
                </a:lnTo>
                <a:lnTo>
                  <a:pt x="83515" y="78486"/>
                </a:lnTo>
                <a:close/>
              </a:path>
              <a:path w="96519" h="95885">
                <a:moveTo>
                  <a:pt x="83515" y="0"/>
                </a:moveTo>
                <a:lnTo>
                  <a:pt x="59728" y="0"/>
                </a:lnTo>
                <a:lnTo>
                  <a:pt x="59728" y="7734"/>
                </a:lnTo>
                <a:lnTo>
                  <a:pt x="73101" y="8864"/>
                </a:lnTo>
                <a:lnTo>
                  <a:pt x="73101" y="67106"/>
                </a:lnTo>
                <a:lnTo>
                  <a:pt x="71183" y="73253"/>
                </a:lnTo>
                <a:lnTo>
                  <a:pt x="67894" y="78054"/>
                </a:lnTo>
                <a:lnTo>
                  <a:pt x="58585" y="85001"/>
                </a:lnTo>
                <a:lnTo>
                  <a:pt x="52311" y="86728"/>
                </a:lnTo>
                <a:lnTo>
                  <a:pt x="67893" y="86728"/>
                </a:lnTo>
                <a:lnTo>
                  <a:pt x="70497" y="83985"/>
                </a:lnTo>
                <a:lnTo>
                  <a:pt x="73444" y="78486"/>
                </a:lnTo>
                <a:lnTo>
                  <a:pt x="83515" y="78486"/>
                </a:lnTo>
                <a:lnTo>
                  <a:pt x="83515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3" name="object 47">
            <a:extLst>
              <a:ext uri="{FF2B5EF4-FFF2-40B4-BE49-F238E27FC236}">
                <a16:creationId xmlns:a16="http://schemas.microsoft.com/office/drawing/2014/main" id="{A4129DF2-0AE4-4FE1-94CD-8F3FC5931F06}"/>
              </a:ext>
            </a:extLst>
          </p:cNvPr>
          <p:cNvSpPr/>
          <p:nvPr/>
        </p:nvSpPr>
        <p:spPr>
          <a:xfrm>
            <a:off x="2282633" y="3930790"/>
            <a:ext cx="90170" cy="137795"/>
          </a:xfrm>
          <a:custGeom>
            <a:avLst/>
            <a:gdLst/>
            <a:ahLst/>
            <a:cxnLst/>
            <a:rect l="l" t="t" r="r" b="b"/>
            <a:pathLst>
              <a:path w="90169" h="137795">
                <a:moveTo>
                  <a:pt x="42570" y="39763"/>
                </a:moveTo>
                <a:lnTo>
                  <a:pt x="36029" y="39763"/>
                </a:lnTo>
                <a:lnTo>
                  <a:pt x="27991" y="40606"/>
                </a:lnTo>
                <a:lnTo>
                  <a:pt x="2373" y="69005"/>
                </a:lnTo>
                <a:lnTo>
                  <a:pt x="0" y="89242"/>
                </a:lnTo>
                <a:lnTo>
                  <a:pt x="0" y="91071"/>
                </a:lnTo>
                <a:lnTo>
                  <a:pt x="14711" y="130183"/>
                </a:lnTo>
                <a:lnTo>
                  <a:pt x="35852" y="137261"/>
                </a:lnTo>
                <a:lnTo>
                  <a:pt x="42506" y="137261"/>
                </a:lnTo>
                <a:lnTo>
                  <a:pt x="48298" y="135928"/>
                </a:lnTo>
                <a:lnTo>
                  <a:pt x="58127" y="130594"/>
                </a:lnTo>
                <a:lnTo>
                  <a:pt x="60640" y="128231"/>
                </a:lnTo>
                <a:lnTo>
                  <a:pt x="28701" y="128231"/>
                </a:lnTo>
                <a:lnTo>
                  <a:pt x="21869" y="124866"/>
                </a:lnTo>
                <a:lnTo>
                  <a:pt x="10502" y="91071"/>
                </a:lnTo>
                <a:lnTo>
                  <a:pt x="10502" y="89242"/>
                </a:lnTo>
                <a:lnTo>
                  <a:pt x="22009" y="52539"/>
                </a:lnTo>
                <a:lnTo>
                  <a:pt x="28879" y="48793"/>
                </a:lnTo>
                <a:lnTo>
                  <a:pt x="60042" y="48793"/>
                </a:lnTo>
                <a:lnTo>
                  <a:pt x="57848" y="46634"/>
                </a:lnTo>
                <a:lnTo>
                  <a:pt x="48234" y="41135"/>
                </a:lnTo>
                <a:lnTo>
                  <a:pt x="42570" y="39763"/>
                </a:lnTo>
                <a:close/>
              </a:path>
              <a:path w="90169" h="137795">
                <a:moveTo>
                  <a:pt x="75437" y="121894"/>
                </a:moveTo>
                <a:lnTo>
                  <a:pt x="65277" y="121894"/>
                </a:lnTo>
                <a:lnTo>
                  <a:pt x="66154" y="135432"/>
                </a:lnTo>
                <a:lnTo>
                  <a:pt x="89598" y="135432"/>
                </a:lnTo>
                <a:lnTo>
                  <a:pt x="89598" y="127800"/>
                </a:lnTo>
                <a:lnTo>
                  <a:pt x="75437" y="126669"/>
                </a:lnTo>
                <a:lnTo>
                  <a:pt x="75437" y="121894"/>
                </a:lnTo>
                <a:close/>
              </a:path>
              <a:path w="90169" h="137795">
                <a:moveTo>
                  <a:pt x="60042" y="48793"/>
                </a:moveTo>
                <a:lnTo>
                  <a:pt x="44970" y="48793"/>
                </a:lnTo>
                <a:lnTo>
                  <a:pt x="50622" y="50469"/>
                </a:lnTo>
                <a:lnTo>
                  <a:pt x="59372" y="57188"/>
                </a:lnTo>
                <a:lnTo>
                  <a:pt x="62712" y="61531"/>
                </a:lnTo>
                <a:lnTo>
                  <a:pt x="65023" y="66852"/>
                </a:lnTo>
                <a:lnTo>
                  <a:pt x="65023" y="111302"/>
                </a:lnTo>
                <a:lnTo>
                  <a:pt x="62534" y="116573"/>
                </a:lnTo>
                <a:lnTo>
                  <a:pt x="59042" y="120700"/>
                </a:lnTo>
                <a:lnTo>
                  <a:pt x="50076" y="126733"/>
                </a:lnTo>
                <a:lnTo>
                  <a:pt x="44500" y="128231"/>
                </a:lnTo>
                <a:lnTo>
                  <a:pt x="60640" y="128231"/>
                </a:lnTo>
                <a:lnTo>
                  <a:pt x="62153" y="126809"/>
                </a:lnTo>
                <a:lnTo>
                  <a:pt x="65277" y="121894"/>
                </a:lnTo>
                <a:lnTo>
                  <a:pt x="75437" y="121894"/>
                </a:lnTo>
                <a:lnTo>
                  <a:pt x="75437" y="55651"/>
                </a:lnTo>
                <a:lnTo>
                  <a:pt x="65023" y="55651"/>
                </a:lnTo>
                <a:lnTo>
                  <a:pt x="61836" y="50558"/>
                </a:lnTo>
                <a:lnTo>
                  <a:pt x="60042" y="48793"/>
                </a:lnTo>
                <a:close/>
              </a:path>
              <a:path w="90169" h="137795">
                <a:moveTo>
                  <a:pt x="75437" y="0"/>
                </a:moveTo>
                <a:lnTo>
                  <a:pt x="50876" y="0"/>
                </a:lnTo>
                <a:lnTo>
                  <a:pt x="50876" y="7734"/>
                </a:lnTo>
                <a:lnTo>
                  <a:pt x="65023" y="8851"/>
                </a:lnTo>
                <a:lnTo>
                  <a:pt x="65023" y="55651"/>
                </a:lnTo>
                <a:lnTo>
                  <a:pt x="75437" y="55651"/>
                </a:lnTo>
                <a:lnTo>
                  <a:pt x="75437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5" name="object 48">
            <a:extLst>
              <a:ext uri="{FF2B5EF4-FFF2-40B4-BE49-F238E27FC236}">
                <a16:creationId xmlns:a16="http://schemas.microsoft.com/office/drawing/2014/main" id="{BC644432-6A79-4481-A966-7F82CBCBF071}"/>
              </a:ext>
            </a:extLst>
          </p:cNvPr>
          <p:cNvSpPr/>
          <p:nvPr/>
        </p:nvSpPr>
        <p:spPr>
          <a:xfrm>
            <a:off x="2387511" y="3930789"/>
            <a:ext cx="38735" cy="135890"/>
          </a:xfrm>
          <a:custGeom>
            <a:avLst/>
            <a:gdLst/>
            <a:ahLst/>
            <a:cxnLst/>
            <a:rect l="l" t="t" r="r" b="b"/>
            <a:pathLst>
              <a:path w="38734" h="135889">
                <a:moveTo>
                  <a:pt x="24485" y="0"/>
                </a:moveTo>
                <a:lnTo>
                  <a:pt x="14160" y="0"/>
                </a:lnTo>
                <a:lnTo>
                  <a:pt x="14160" y="14579"/>
                </a:lnTo>
                <a:lnTo>
                  <a:pt x="24485" y="14579"/>
                </a:lnTo>
                <a:lnTo>
                  <a:pt x="24485" y="0"/>
                </a:lnTo>
                <a:close/>
              </a:path>
              <a:path w="38734" h="135889">
                <a:moveTo>
                  <a:pt x="24485" y="41490"/>
                </a:moveTo>
                <a:lnTo>
                  <a:pt x="0" y="41490"/>
                </a:lnTo>
                <a:lnTo>
                  <a:pt x="0" y="49225"/>
                </a:lnTo>
                <a:lnTo>
                  <a:pt x="14147" y="50355"/>
                </a:lnTo>
                <a:lnTo>
                  <a:pt x="14147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85" y="126657"/>
                </a:lnTo>
                <a:lnTo>
                  <a:pt x="24485" y="414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7" name="object 49">
            <a:extLst>
              <a:ext uri="{FF2B5EF4-FFF2-40B4-BE49-F238E27FC236}">
                <a16:creationId xmlns:a16="http://schemas.microsoft.com/office/drawing/2014/main" id="{2EF61F8A-0ABE-4ACD-B3CB-42790AC2E990}"/>
              </a:ext>
            </a:extLst>
          </p:cNvPr>
          <p:cNvSpPr/>
          <p:nvPr/>
        </p:nvSpPr>
        <p:spPr>
          <a:xfrm>
            <a:off x="2443593" y="3970553"/>
            <a:ext cx="76200" cy="97790"/>
          </a:xfrm>
          <a:custGeom>
            <a:avLst/>
            <a:gdLst/>
            <a:ahLst/>
            <a:cxnLst/>
            <a:rect l="l" t="t" r="r" b="b"/>
            <a:pathLst>
              <a:path w="76200" h="97789">
                <a:moveTo>
                  <a:pt x="47256" y="0"/>
                </a:moveTo>
                <a:lnTo>
                  <a:pt x="40017" y="0"/>
                </a:lnTo>
                <a:lnTo>
                  <a:pt x="31042" y="824"/>
                </a:lnTo>
                <a:lnTo>
                  <a:pt x="2627" y="28211"/>
                </a:lnTo>
                <a:lnTo>
                  <a:pt x="0" y="46875"/>
                </a:lnTo>
                <a:lnTo>
                  <a:pt x="0" y="50520"/>
                </a:lnTo>
                <a:lnTo>
                  <a:pt x="16291" y="90091"/>
                </a:lnTo>
                <a:lnTo>
                  <a:pt x="40106" y="97485"/>
                </a:lnTo>
                <a:lnTo>
                  <a:pt x="47050" y="96937"/>
                </a:lnTo>
                <a:lnTo>
                  <a:pt x="53554" y="95294"/>
                </a:lnTo>
                <a:lnTo>
                  <a:pt x="59617" y="92556"/>
                </a:lnTo>
                <a:lnTo>
                  <a:pt x="65239" y="88722"/>
                </a:lnTo>
                <a:lnTo>
                  <a:pt x="29921" y="88722"/>
                </a:lnTo>
                <a:lnTo>
                  <a:pt x="22428" y="85140"/>
                </a:lnTo>
                <a:lnTo>
                  <a:pt x="10414" y="50520"/>
                </a:lnTo>
                <a:lnTo>
                  <a:pt x="10414" y="46875"/>
                </a:lnTo>
                <a:lnTo>
                  <a:pt x="29946" y="8851"/>
                </a:lnTo>
                <a:lnTo>
                  <a:pt x="68631" y="8851"/>
                </a:lnTo>
                <a:lnTo>
                  <a:pt x="65925" y="6794"/>
                </a:lnTo>
                <a:lnTo>
                  <a:pt x="53873" y="1358"/>
                </a:lnTo>
                <a:lnTo>
                  <a:pt x="47256" y="0"/>
                </a:lnTo>
                <a:close/>
              </a:path>
              <a:path w="76200" h="97789">
                <a:moveTo>
                  <a:pt x="75438" y="66408"/>
                </a:moveTo>
                <a:lnTo>
                  <a:pt x="66243" y="66408"/>
                </a:lnTo>
                <a:lnTo>
                  <a:pt x="66243" y="73418"/>
                </a:lnTo>
                <a:lnTo>
                  <a:pt x="63601" y="78892"/>
                </a:lnTo>
                <a:lnTo>
                  <a:pt x="53073" y="86753"/>
                </a:lnTo>
                <a:lnTo>
                  <a:pt x="46990" y="88722"/>
                </a:lnTo>
                <a:lnTo>
                  <a:pt x="65239" y="88722"/>
                </a:lnTo>
                <a:lnTo>
                  <a:pt x="72440" y="82880"/>
                </a:lnTo>
                <a:lnTo>
                  <a:pt x="75907" y="75615"/>
                </a:lnTo>
                <a:lnTo>
                  <a:pt x="75615" y="66928"/>
                </a:lnTo>
                <a:lnTo>
                  <a:pt x="75438" y="66408"/>
                </a:lnTo>
                <a:close/>
              </a:path>
              <a:path w="76200" h="97789">
                <a:moveTo>
                  <a:pt x="68631" y="8851"/>
                </a:moveTo>
                <a:lnTo>
                  <a:pt x="45288" y="8851"/>
                </a:lnTo>
                <a:lnTo>
                  <a:pt x="49987" y="9753"/>
                </a:lnTo>
                <a:lnTo>
                  <a:pt x="58267" y="13398"/>
                </a:lnTo>
                <a:lnTo>
                  <a:pt x="61722" y="15887"/>
                </a:lnTo>
                <a:lnTo>
                  <a:pt x="64503" y="19011"/>
                </a:lnTo>
                <a:lnTo>
                  <a:pt x="66154" y="35674"/>
                </a:lnTo>
                <a:lnTo>
                  <a:pt x="75006" y="35674"/>
                </a:lnTo>
                <a:lnTo>
                  <a:pt x="74574" y="15189"/>
                </a:lnTo>
                <a:lnTo>
                  <a:pt x="70802" y="10502"/>
                </a:lnTo>
                <a:lnTo>
                  <a:pt x="68631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9" name="object 50">
            <a:extLst>
              <a:ext uri="{FF2B5EF4-FFF2-40B4-BE49-F238E27FC236}">
                <a16:creationId xmlns:a16="http://schemas.microsoft.com/office/drawing/2014/main" id="{6AD71441-16E0-4046-924D-39BE4E76F0BF}"/>
              </a:ext>
            </a:extLst>
          </p:cNvPr>
          <p:cNvSpPr/>
          <p:nvPr/>
        </p:nvSpPr>
        <p:spPr>
          <a:xfrm>
            <a:off x="2537879" y="3930789"/>
            <a:ext cx="38735" cy="135890"/>
          </a:xfrm>
          <a:custGeom>
            <a:avLst/>
            <a:gdLst/>
            <a:ahLst/>
            <a:cxnLst/>
            <a:rect l="l" t="t" r="r" b="b"/>
            <a:pathLst>
              <a:path w="38735" h="135889">
                <a:moveTo>
                  <a:pt x="24472" y="0"/>
                </a:moveTo>
                <a:lnTo>
                  <a:pt x="14147" y="0"/>
                </a:lnTo>
                <a:lnTo>
                  <a:pt x="14147" y="14579"/>
                </a:lnTo>
                <a:lnTo>
                  <a:pt x="24472" y="14579"/>
                </a:lnTo>
                <a:lnTo>
                  <a:pt x="24472" y="0"/>
                </a:lnTo>
                <a:close/>
              </a:path>
              <a:path w="38735" h="135889">
                <a:moveTo>
                  <a:pt x="24472" y="41490"/>
                </a:moveTo>
                <a:lnTo>
                  <a:pt x="0" y="41490"/>
                </a:lnTo>
                <a:lnTo>
                  <a:pt x="0" y="49225"/>
                </a:lnTo>
                <a:lnTo>
                  <a:pt x="14147" y="50355"/>
                </a:lnTo>
                <a:lnTo>
                  <a:pt x="14147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72" y="126657"/>
                </a:lnTo>
                <a:lnTo>
                  <a:pt x="24472" y="414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1" name="object 51">
            <a:extLst>
              <a:ext uri="{FF2B5EF4-FFF2-40B4-BE49-F238E27FC236}">
                <a16:creationId xmlns:a16="http://schemas.microsoft.com/office/drawing/2014/main" id="{E11E2A33-13D6-4C35-B886-518A36D85FE4}"/>
              </a:ext>
            </a:extLst>
          </p:cNvPr>
          <p:cNvSpPr/>
          <p:nvPr/>
        </p:nvSpPr>
        <p:spPr>
          <a:xfrm>
            <a:off x="2593962" y="39705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5" h="97789">
                <a:moveTo>
                  <a:pt x="41490" y="0"/>
                </a:moveTo>
                <a:lnTo>
                  <a:pt x="6391" y="20391"/>
                </a:lnTo>
                <a:lnTo>
                  <a:pt x="0" y="47307"/>
                </a:lnTo>
                <a:lnTo>
                  <a:pt x="0" y="50177"/>
                </a:lnTo>
                <a:lnTo>
                  <a:pt x="17524" y="90045"/>
                </a:lnTo>
                <a:lnTo>
                  <a:pt x="41668" y="97497"/>
                </a:lnTo>
                <a:lnTo>
                  <a:pt x="50579" y="96669"/>
                </a:lnTo>
                <a:lnTo>
                  <a:pt x="58564" y="94184"/>
                </a:lnTo>
                <a:lnTo>
                  <a:pt x="65623" y="90045"/>
                </a:lnTo>
                <a:lnTo>
                  <a:pt x="67023" y="88722"/>
                </a:lnTo>
                <a:lnTo>
                  <a:pt x="41668" y="88722"/>
                </a:lnTo>
                <a:lnTo>
                  <a:pt x="34695" y="88027"/>
                </a:lnTo>
                <a:lnTo>
                  <a:pt x="10928" y="58009"/>
                </a:lnTo>
                <a:lnTo>
                  <a:pt x="10413" y="50177"/>
                </a:lnTo>
                <a:lnTo>
                  <a:pt x="10413" y="47307"/>
                </a:lnTo>
                <a:lnTo>
                  <a:pt x="28497" y="11652"/>
                </a:lnTo>
                <a:lnTo>
                  <a:pt x="41490" y="8851"/>
                </a:lnTo>
                <a:lnTo>
                  <a:pt x="67014" y="8851"/>
                </a:lnTo>
                <a:lnTo>
                  <a:pt x="65551" y="7468"/>
                </a:lnTo>
                <a:lnTo>
                  <a:pt x="58464" y="3317"/>
                </a:lnTo>
                <a:lnTo>
                  <a:pt x="50444" y="829"/>
                </a:lnTo>
                <a:lnTo>
                  <a:pt x="41490" y="0"/>
                </a:lnTo>
                <a:close/>
              </a:path>
              <a:path w="83185" h="97789">
                <a:moveTo>
                  <a:pt x="67014" y="8851"/>
                </a:moveTo>
                <a:lnTo>
                  <a:pt x="41490" y="8851"/>
                </a:lnTo>
                <a:lnTo>
                  <a:pt x="48392" y="9551"/>
                </a:lnTo>
                <a:lnTo>
                  <a:pt x="54505" y="11652"/>
                </a:lnTo>
                <a:lnTo>
                  <a:pt x="72656" y="47307"/>
                </a:lnTo>
                <a:lnTo>
                  <a:pt x="72656" y="50177"/>
                </a:lnTo>
                <a:lnTo>
                  <a:pt x="51333" y="88722"/>
                </a:lnTo>
                <a:lnTo>
                  <a:pt x="67023" y="88722"/>
                </a:lnTo>
                <a:lnTo>
                  <a:pt x="83083" y="50177"/>
                </a:lnTo>
                <a:lnTo>
                  <a:pt x="83083" y="47307"/>
                </a:lnTo>
                <a:lnTo>
                  <a:pt x="82371" y="37406"/>
                </a:lnTo>
                <a:lnTo>
                  <a:pt x="80237" y="28433"/>
                </a:lnTo>
                <a:lnTo>
                  <a:pt x="76680" y="20391"/>
                </a:lnTo>
                <a:lnTo>
                  <a:pt x="71704" y="13284"/>
                </a:lnTo>
                <a:lnTo>
                  <a:pt x="67014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3" name="object 52">
            <a:extLst>
              <a:ext uri="{FF2B5EF4-FFF2-40B4-BE49-F238E27FC236}">
                <a16:creationId xmlns:a16="http://schemas.microsoft.com/office/drawing/2014/main" id="{D4484419-A0BF-451D-A900-B056939784D3}"/>
              </a:ext>
            </a:extLst>
          </p:cNvPr>
          <p:cNvSpPr/>
          <p:nvPr/>
        </p:nvSpPr>
        <p:spPr>
          <a:xfrm>
            <a:off x="2689541" y="3972281"/>
            <a:ext cx="96520" cy="95885"/>
          </a:xfrm>
          <a:custGeom>
            <a:avLst/>
            <a:gdLst/>
            <a:ahLst/>
            <a:cxnLst/>
            <a:rect l="l" t="t" r="r" b="b"/>
            <a:pathLst>
              <a:path w="96519" h="95885">
                <a:moveTo>
                  <a:pt x="21958" y="0"/>
                </a:moveTo>
                <a:lnTo>
                  <a:pt x="0" y="0"/>
                </a:lnTo>
                <a:lnTo>
                  <a:pt x="0" y="7734"/>
                </a:lnTo>
                <a:lnTo>
                  <a:pt x="11633" y="8864"/>
                </a:lnTo>
                <a:lnTo>
                  <a:pt x="11633" y="54432"/>
                </a:lnTo>
                <a:lnTo>
                  <a:pt x="25590" y="92405"/>
                </a:lnTo>
                <a:lnTo>
                  <a:pt x="33337" y="95758"/>
                </a:lnTo>
                <a:lnTo>
                  <a:pt x="50177" y="95758"/>
                </a:lnTo>
                <a:lnTo>
                  <a:pt x="56210" y="94259"/>
                </a:lnTo>
                <a:lnTo>
                  <a:pt x="66459" y="88239"/>
                </a:lnTo>
                <a:lnTo>
                  <a:pt x="67893" y="86728"/>
                </a:lnTo>
                <a:lnTo>
                  <a:pt x="37274" y="86728"/>
                </a:lnTo>
                <a:lnTo>
                  <a:pt x="31724" y="84239"/>
                </a:lnTo>
                <a:lnTo>
                  <a:pt x="23914" y="74295"/>
                </a:lnTo>
                <a:lnTo>
                  <a:pt x="21958" y="66065"/>
                </a:lnTo>
                <a:lnTo>
                  <a:pt x="21958" y="0"/>
                </a:lnTo>
                <a:close/>
              </a:path>
              <a:path w="96519" h="95885">
                <a:moveTo>
                  <a:pt x="83515" y="78486"/>
                </a:moveTo>
                <a:lnTo>
                  <a:pt x="73444" y="78486"/>
                </a:lnTo>
                <a:lnTo>
                  <a:pt x="74396" y="93941"/>
                </a:lnTo>
                <a:lnTo>
                  <a:pt x="96100" y="93941"/>
                </a:lnTo>
                <a:lnTo>
                  <a:pt x="96100" y="86296"/>
                </a:lnTo>
                <a:lnTo>
                  <a:pt x="83515" y="85166"/>
                </a:lnTo>
                <a:lnTo>
                  <a:pt x="83515" y="78486"/>
                </a:lnTo>
                <a:close/>
              </a:path>
              <a:path w="96519" h="95885">
                <a:moveTo>
                  <a:pt x="83515" y="0"/>
                </a:moveTo>
                <a:lnTo>
                  <a:pt x="59728" y="0"/>
                </a:lnTo>
                <a:lnTo>
                  <a:pt x="59728" y="7734"/>
                </a:lnTo>
                <a:lnTo>
                  <a:pt x="73101" y="8864"/>
                </a:lnTo>
                <a:lnTo>
                  <a:pt x="73101" y="67106"/>
                </a:lnTo>
                <a:lnTo>
                  <a:pt x="71183" y="73253"/>
                </a:lnTo>
                <a:lnTo>
                  <a:pt x="67894" y="78054"/>
                </a:lnTo>
                <a:lnTo>
                  <a:pt x="58585" y="85001"/>
                </a:lnTo>
                <a:lnTo>
                  <a:pt x="52311" y="86728"/>
                </a:lnTo>
                <a:lnTo>
                  <a:pt x="67893" y="86728"/>
                </a:lnTo>
                <a:lnTo>
                  <a:pt x="70497" y="83985"/>
                </a:lnTo>
                <a:lnTo>
                  <a:pt x="73444" y="78486"/>
                </a:lnTo>
                <a:lnTo>
                  <a:pt x="83515" y="78486"/>
                </a:lnTo>
                <a:lnTo>
                  <a:pt x="83515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5" name="object 53">
            <a:extLst>
              <a:ext uri="{FF2B5EF4-FFF2-40B4-BE49-F238E27FC236}">
                <a16:creationId xmlns:a16="http://schemas.microsoft.com/office/drawing/2014/main" id="{D7024057-B06F-4F3E-8531-8AB13F079EF9}"/>
              </a:ext>
            </a:extLst>
          </p:cNvPr>
          <p:cNvSpPr/>
          <p:nvPr/>
        </p:nvSpPr>
        <p:spPr>
          <a:xfrm>
            <a:off x="2802584" y="3970553"/>
            <a:ext cx="68580" cy="97790"/>
          </a:xfrm>
          <a:custGeom>
            <a:avLst/>
            <a:gdLst/>
            <a:ahLst/>
            <a:cxnLst/>
            <a:rect l="l" t="t" r="r" b="b"/>
            <a:pathLst>
              <a:path w="68580" h="97789">
                <a:moveTo>
                  <a:pt x="8420" y="67462"/>
                </a:moveTo>
                <a:lnTo>
                  <a:pt x="0" y="67462"/>
                </a:lnTo>
                <a:lnTo>
                  <a:pt x="0" y="86385"/>
                </a:lnTo>
                <a:lnTo>
                  <a:pt x="4165" y="89916"/>
                </a:lnTo>
                <a:lnTo>
                  <a:pt x="9093" y="92646"/>
                </a:lnTo>
                <a:lnTo>
                  <a:pt x="20497" y="96532"/>
                </a:lnTo>
                <a:lnTo>
                  <a:pt x="26822" y="97497"/>
                </a:lnTo>
                <a:lnTo>
                  <a:pt x="33769" y="97497"/>
                </a:lnTo>
                <a:lnTo>
                  <a:pt x="60915" y="88722"/>
                </a:lnTo>
                <a:lnTo>
                  <a:pt x="29133" y="88722"/>
                </a:lnTo>
                <a:lnTo>
                  <a:pt x="24688" y="88112"/>
                </a:lnTo>
                <a:lnTo>
                  <a:pt x="16192" y="85610"/>
                </a:lnTo>
                <a:lnTo>
                  <a:pt x="12674" y="83604"/>
                </a:lnTo>
                <a:lnTo>
                  <a:pt x="9893" y="80822"/>
                </a:lnTo>
                <a:lnTo>
                  <a:pt x="8420" y="67462"/>
                </a:lnTo>
                <a:close/>
              </a:path>
              <a:path w="68580" h="97789">
                <a:moveTo>
                  <a:pt x="40131" y="0"/>
                </a:moveTo>
                <a:lnTo>
                  <a:pt x="23291" y="0"/>
                </a:lnTo>
                <a:lnTo>
                  <a:pt x="15278" y="2463"/>
                </a:lnTo>
                <a:lnTo>
                  <a:pt x="3124" y="12369"/>
                </a:lnTo>
                <a:lnTo>
                  <a:pt x="88" y="18427"/>
                </a:lnTo>
                <a:lnTo>
                  <a:pt x="88" y="32842"/>
                </a:lnTo>
                <a:lnTo>
                  <a:pt x="33070" y="52171"/>
                </a:lnTo>
                <a:lnTo>
                  <a:pt x="42506" y="54267"/>
                </a:lnTo>
                <a:lnTo>
                  <a:pt x="49034" y="56946"/>
                </a:lnTo>
                <a:lnTo>
                  <a:pt x="56260" y="63550"/>
                </a:lnTo>
                <a:lnTo>
                  <a:pt x="58077" y="67398"/>
                </a:lnTo>
                <a:lnTo>
                  <a:pt x="58077" y="76492"/>
                </a:lnTo>
                <a:lnTo>
                  <a:pt x="55905" y="80479"/>
                </a:lnTo>
                <a:lnTo>
                  <a:pt x="47218" y="87083"/>
                </a:lnTo>
                <a:lnTo>
                  <a:pt x="41287" y="88722"/>
                </a:lnTo>
                <a:lnTo>
                  <a:pt x="60915" y="88722"/>
                </a:lnTo>
                <a:lnTo>
                  <a:pt x="65239" y="85420"/>
                </a:lnTo>
                <a:lnTo>
                  <a:pt x="68402" y="79095"/>
                </a:lnTo>
                <a:lnTo>
                  <a:pt x="68402" y="63868"/>
                </a:lnTo>
                <a:lnTo>
                  <a:pt x="34988" y="43497"/>
                </a:lnTo>
                <a:lnTo>
                  <a:pt x="25209" y="41351"/>
                </a:lnTo>
                <a:lnTo>
                  <a:pt x="18668" y="38874"/>
                </a:lnTo>
                <a:lnTo>
                  <a:pt x="12141" y="33185"/>
                </a:lnTo>
                <a:lnTo>
                  <a:pt x="10502" y="29603"/>
                </a:lnTo>
                <a:lnTo>
                  <a:pt x="10502" y="20866"/>
                </a:lnTo>
                <a:lnTo>
                  <a:pt x="12395" y="17030"/>
                </a:lnTo>
                <a:lnTo>
                  <a:pt x="19977" y="10490"/>
                </a:lnTo>
                <a:lnTo>
                  <a:pt x="25666" y="8851"/>
                </a:lnTo>
                <a:lnTo>
                  <a:pt x="63185" y="8851"/>
                </a:lnTo>
                <a:lnTo>
                  <a:pt x="62471" y="8140"/>
                </a:lnTo>
                <a:lnTo>
                  <a:pt x="57823" y="5283"/>
                </a:lnTo>
                <a:lnTo>
                  <a:pt x="46431" y="1054"/>
                </a:lnTo>
                <a:lnTo>
                  <a:pt x="40131" y="0"/>
                </a:lnTo>
                <a:close/>
              </a:path>
              <a:path w="68580" h="97789">
                <a:moveTo>
                  <a:pt x="63185" y="8851"/>
                </a:moveTo>
                <a:lnTo>
                  <a:pt x="38404" y="8851"/>
                </a:lnTo>
                <a:lnTo>
                  <a:pt x="42951" y="9613"/>
                </a:lnTo>
                <a:lnTo>
                  <a:pt x="50888" y="12611"/>
                </a:lnTo>
                <a:lnTo>
                  <a:pt x="54165" y="14732"/>
                </a:lnTo>
                <a:lnTo>
                  <a:pt x="56768" y="17449"/>
                </a:lnTo>
                <a:lnTo>
                  <a:pt x="57988" y="30734"/>
                </a:lnTo>
                <a:lnTo>
                  <a:pt x="66497" y="30734"/>
                </a:lnTo>
                <a:lnTo>
                  <a:pt x="66065" y="11722"/>
                </a:lnTo>
                <a:lnTo>
                  <a:pt x="63185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7" name="object 54">
            <a:extLst>
              <a:ext uri="{FF2B5EF4-FFF2-40B4-BE49-F238E27FC236}">
                <a16:creationId xmlns:a16="http://schemas.microsoft.com/office/drawing/2014/main" id="{B26200B5-BC67-4227-9F2D-4CFF46033434}"/>
              </a:ext>
            </a:extLst>
          </p:cNvPr>
          <p:cNvSpPr/>
          <p:nvPr/>
        </p:nvSpPr>
        <p:spPr>
          <a:xfrm>
            <a:off x="2887826" y="3928960"/>
            <a:ext cx="1819846" cy="175196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9" name="object 55">
            <a:extLst>
              <a:ext uri="{FF2B5EF4-FFF2-40B4-BE49-F238E27FC236}">
                <a16:creationId xmlns:a16="http://schemas.microsoft.com/office/drawing/2014/main" id="{3973DA86-2FFD-4B0D-A936-819C4251547C}"/>
              </a:ext>
            </a:extLst>
          </p:cNvPr>
          <p:cNvSpPr/>
          <p:nvPr/>
        </p:nvSpPr>
        <p:spPr>
          <a:xfrm>
            <a:off x="1938146" y="4197489"/>
            <a:ext cx="100330" cy="135890"/>
          </a:xfrm>
          <a:custGeom>
            <a:avLst/>
            <a:gdLst/>
            <a:ahLst/>
            <a:cxnLst/>
            <a:rect l="l" t="t" r="r" b="b"/>
            <a:pathLst>
              <a:path w="100330" h="135889">
                <a:moveTo>
                  <a:pt x="24485" y="0"/>
                </a:moveTo>
                <a:lnTo>
                  <a:pt x="0" y="0"/>
                </a:lnTo>
                <a:lnTo>
                  <a:pt x="0" y="7721"/>
                </a:lnTo>
                <a:lnTo>
                  <a:pt x="14147" y="8851"/>
                </a:lnTo>
                <a:lnTo>
                  <a:pt x="14147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85" y="126657"/>
                </a:lnTo>
                <a:lnTo>
                  <a:pt x="24485" y="69278"/>
                </a:lnTo>
                <a:lnTo>
                  <a:pt x="26733" y="63080"/>
                </a:lnTo>
                <a:lnTo>
                  <a:pt x="30251" y="58127"/>
                </a:lnTo>
                <a:lnTo>
                  <a:pt x="30982" y="57556"/>
                </a:lnTo>
                <a:lnTo>
                  <a:pt x="24485" y="57556"/>
                </a:lnTo>
                <a:lnTo>
                  <a:pt x="24485" y="0"/>
                </a:lnTo>
                <a:close/>
              </a:path>
              <a:path w="100330" h="135889">
                <a:moveTo>
                  <a:pt x="77849" y="48780"/>
                </a:moveTo>
                <a:lnTo>
                  <a:pt x="59931" y="48780"/>
                </a:lnTo>
                <a:lnTo>
                  <a:pt x="65468" y="51003"/>
                </a:lnTo>
                <a:lnTo>
                  <a:pt x="73520" y="59855"/>
                </a:lnTo>
                <a:lnTo>
                  <a:pt x="75526" y="67170"/>
                </a:lnTo>
                <a:lnTo>
                  <a:pt x="75526" y="126657"/>
                </a:lnTo>
                <a:lnTo>
                  <a:pt x="61379" y="127787"/>
                </a:lnTo>
                <a:lnTo>
                  <a:pt x="61379" y="135432"/>
                </a:lnTo>
                <a:lnTo>
                  <a:pt x="100101" y="135432"/>
                </a:lnTo>
                <a:lnTo>
                  <a:pt x="100101" y="127787"/>
                </a:lnTo>
                <a:lnTo>
                  <a:pt x="85953" y="126657"/>
                </a:lnTo>
                <a:lnTo>
                  <a:pt x="85953" y="77520"/>
                </a:lnTo>
                <a:lnTo>
                  <a:pt x="85456" y="68471"/>
                </a:lnTo>
                <a:lnTo>
                  <a:pt x="83964" y="60696"/>
                </a:lnTo>
                <a:lnTo>
                  <a:pt x="81479" y="54192"/>
                </a:lnTo>
                <a:lnTo>
                  <a:pt x="78003" y="48958"/>
                </a:lnTo>
                <a:lnTo>
                  <a:pt x="77849" y="48780"/>
                </a:lnTo>
                <a:close/>
              </a:path>
              <a:path w="100330" h="135889">
                <a:moveTo>
                  <a:pt x="65112" y="39751"/>
                </a:moveTo>
                <a:lnTo>
                  <a:pt x="48272" y="39751"/>
                </a:lnTo>
                <a:lnTo>
                  <a:pt x="42189" y="41325"/>
                </a:lnTo>
                <a:lnTo>
                  <a:pt x="31775" y="47574"/>
                </a:lnTo>
                <a:lnTo>
                  <a:pt x="27609" y="51930"/>
                </a:lnTo>
                <a:lnTo>
                  <a:pt x="24485" y="57556"/>
                </a:lnTo>
                <a:lnTo>
                  <a:pt x="30982" y="57556"/>
                </a:lnTo>
                <a:lnTo>
                  <a:pt x="39801" y="50660"/>
                </a:lnTo>
                <a:lnTo>
                  <a:pt x="45758" y="48780"/>
                </a:lnTo>
                <a:lnTo>
                  <a:pt x="77849" y="48780"/>
                </a:lnTo>
                <a:lnTo>
                  <a:pt x="72707" y="42824"/>
                </a:lnTo>
                <a:lnTo>
                  <a:pt x="65112" y="397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1" name="object 56">
            <a:extLst>
              <a:ext uri="{FF2B5EF4-FFF2-40B4-BE49-F238E27FC236}">
                <a16:creationId xmlns:a16="http://schemas.microsoft.com/office/drawing/2014/main" id="{71B9350B-3E8F-4EC9-9BB1-ACA16E500261}"/>
              </a:ext>
            </a:extLst>
          </p:cNvPr>
          <p:cNvSpPr/>
          <p:nvPr/>
        </p:nvSpPr>
        <p:spPr>
          <a:xfrm>
            <a:off x="2054484" y="42372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4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8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4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4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4" h="97789">
                <a:moveTo>
                  <a:pt x="38201" y="0"/>
                </a:moveTo>
                <a:lnTo>
                  <a:pt x="31368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1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6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3" name="object 57">
            <a:extLst>
              <a:ext uri="{FF2B5EF4-FFF2-40B4-BE49-F238E27FC236}">
                <a16:creationId xmlns:a16="http://schemas.microsoft.com/office/drawing/2014/main" id="{58845BDC-E165-486B-9F1E-01C22DDD3CDA}"/>
              </a:ext>
            </a:extLst>
          </p:cNvPr>
          <p:cNvSpPr/>
          <p:nvPr/>
        </p:nvSpPr>
        <p:spPr>
          <a:xfrm>
            <a:off x="2153627" y="4237253"/>
            <a:ext cx="68580" cy="97790"/>
          </a:xfrm>
          <a:custGeom>
            <a:avLst/>
            <a:gdLst/>
            <a:ahLst/>
            <a:cxnLst/>
            <a:rect l="l" t="t" r="r" b="b"/>
            <a:pathLst>
              <a:path w="68580" h="97789">
                <a:moveTo>
                  <a:pt x="8420" y="67462"/>
                </a:moveTo>
                <a:lnTo>
                  <a:pt x="0" y="67462"/>
                </a:lnTo>
                <a:lnTo>
                  <a:pt x="0" y="86385"/>
                </a:lnTo>
                <a:lnTo>
                  <a:pt x="4165" y="89916"/>
                </a:lnTo>
                <a:lnTo>
                  <a:pt x="9093" y="92646"/>
                </a:lnTo>
                <a:lnTo>
                  <a:pt x="20497" y="96532"/>
                </a:lnTo>
                <a:lnTo>
                  <a:pt x="26822" y="97497"/>
                </a:lnTo>
                <a:lnTo>
                  <a:pt x="33769" y="97497"/>
                </a:lnTo>
                <a:lnTo>
                  <a:pt x="60915" y="88722"/>
                </a:lnTo>
                <a:lnTo>
                  <a:pt x="29133" y="88722"/>
                </a:lnTo>
                <a:lnTo>
                  <a:pt x="24688" y="88112"/>
                </a:lnTo>
                <a:lnTo>
                  <a:pt x="16192" y="85610"/>
                </a:lnTo>
                <a:lnTo>
                  <a:pt x="12674" y="83604"/>
                </a:lnTo>
                <a:lnTo>
                  <a:pt x="9893" y="80822"/>
                </a:lnTo>
                <a:lnTo>
                  <a:pt x="8420" y="67462"/>
                </a:lnTo>
                <a:close/>
              </a:path>
              <a:path w="68580" h="97789">
                <a:moveTo>
                  <a:pt x="40132" y="0"/>
                </a:moveTo>
                <a:lnTo>
                  <a:pt x="23291" y="0"/>
                </a:lnTo>
                <a:lnTo>
                  <a:pt x="15278" y="2463"/>
                </a:lnTo>
                <a:lnTo>
                  <a:pt x="3124" y="12369"/>
                </a:lnTo>
                <a:lnTo>
                  <a:pt x="88" y="18427"/>
                </a:lnTo>
                <a:lnTo>
                  <a:pt x="88" y="32842"/>
                </a:lnTo>
                <a:lnTo>
                  <a:pt x="33070" y="52171"/>
                </a:lnTo>
                <a:lnTo>
                  <a:pt x="42506" y="54267"/>
                </a:lnTo>
                <a:lnTo>
                  <a:pt x="49034" y="56946"/>
                </a:lnTo>
                <a:lnTo>
                  <a:pt x="56261" y="63550"/>
                </a:lnTo>
                <a:lnTo>
                  <a:pt x="58077" y="67398"/>
                </a:lnTo>
                <a:lnTo>
                  <a:pt x="58077" y="76492"/>
                </a:lnTo>
                <a:lnTo>
                  <a:pt x="55905" y="80479"/>
                </a:lnTo>
                <a:lnTo>
                  <a:pt x="47218" y="87083"/>
                </a:lnTo>
                <a:lnTo>
                  <a:pt x="41287" y="88722"/>
                </a:lnTo>
                <a:lnTo>
                  <a:pt x="60915" y="88722"/>
                </a:lnTo>
                <a:lnTo>
                  <a:pt x="65239" y="85420"/>
                </a:lnTo>
                <a:lnTo>
                  <a:pt x="68402" y="79095"/>
                </a:lnTo>
                <a:lnTo>
                  <a:pt x="68402" y="63868"/>
                </a:lnTo>
                <a:lnTo>
                  <a:pt x="34988" y="43497"/>
                </a:lnTo>
                <a:lnTo>
                  <a:pt x="25209" y="41351"/>
                </a:lnTo>
                <a:lnTo>
                  <a:pt x="18669" y="38874"/>
                </a:lnTo>
                <a:lnTo>
                  <a:pt x="12141" y="33185"/>
                </a:lnTo>
                <a:lnTo>
                  <a:pt x="10502" y="29603"/>
                </a:lnTo>
                <a:lnTo>
                  <a:pt x="10502" y="20866"/>
                </a:lnTo>
                <a:lnTo>
                  <a:pt x="12395" y="17030"/>
                </a:lnTo>
                <a:lnTo>
                  <a:pt x="19977" y="10490"/>
                </a:lnTo>
                <a:lnTo>
                  <a:pt x="25666" y="8851"/>
                </a:lnTo>
                <a:lnTo>
                  <a:pt x="63185" y="8851"/>
                </a:lnTo>
                <a:lnTo>
                  <a:pt x="62471" y="8140"/>
                </a:lnTo>
                <a:lnTo>
                  <a:pt x="57823" y="5283"/>
                </a:lnTo>
                <a:lnTo>
                  <a:pt x="46431" y="1054"/>
                </a:lnTo>
                <a:lnTo>
                  <a:pt x="40132" y="0"/>
                </a:lnTo>
                <a:close/>
              </a:path>
              <a:path w="68580" h="97789">
                <a:moveTo>
                  <a:pt x="63185" y="8851"/>
                </a:moveTo>
                <a:lnTo>
                  <a:pt x="38404" y="8851"/>
                </a:lnTo>
                <a:lnTo>
                  <a:pt x="42951" y="9613"/>
                </a:lnTo>
                <a:lnTo>
                  <a:pt x="50888" y="12611"/>
                </a:lnTo>
                <a:lnTo>
                  <a:pt x="54165" y="14732"/>
                </a:lnTo>
                <a:lnTo>
                  <a:pt x="56769" y="17449"/>
                </a:lnTo>
                <a:lnTo>
                  <a:pt x="57988" y="30734"/>
                </a:lnTo>
                <a:lnTo>
                  <a:pt x="66497" y="30734"/>
                </a:lnTo>
                <a:lnTo>
                  <a:pt x="66065" y="11722"/>
                </a:lnTo>
                <a:lnTo>
                  <a:pt x="63185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5" name="object 58">
            <a:extLst>
              <a:ext uri="{FF2B5EF4-FFF2-40B4-BE49-F238E27FC236}">
                <a16:creationId xmlns:a16="http://schemas.microsoft.com/office/drawing/2014/main" id="{CC9E7309-DA0D-4BAE-A7F4-4F6BF1FE13F9}"/>
              </a:ext>
            </a:extLst>
          </p:cNvPr>
          <p:cNvSpPr/>
          <p:nvPr/>
        </p:nvSpPr>
        <p:spPr>
          <a:xfrm>
            <a:off x="2237929" y="4197489"/>
            <a:ext cx="100330" cy="135890"/>
          </a:xfrm>
          <a:custGeom>
            <a:avLst/>
            <a:gdLst/>
            <a:ahLst/>
            <a:cxnLst/>
            <a:rect l="l" t="t" r="r" b="b"/>
            <a:pathLst>
              <a:path w="100330" h="135889">
                <a:moveTo>
                  <a:pt x="24485" y="0"/>
                </a:moveTo>
                <a:lnTo>
                  <a:pt x="0" y="0"/>
                </a:lnTo>
                <a:lnTo>
                  <a:pt x="0" y="7721"/>
                </a:lnTo>
                <a:lnTo>
                  <a:pt x="14147" y="8851"/>
                </a:lnTo>
                <a:lnTo>
                  <a:pt x="14147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85" y="126657"/>
                </a:lnTo>
                <a:lnTo>
                  <a:pt x="24485" y="69278"/>
                </a:lnTo>
                <a:lnTo>
                  <a:pt x="26733" y="63080"/>
                </a:lnTo>
                <a:lnTo>
                  <a:pt x="30251" y="58127"/>
                </a:lnTo>
                <a:lnTo>
                  <a:pt x="30982" y="57556"/>
                </a:lnTo>
                <a:lnTo>
                  <a:pt x="24485" y="57556"/>
                </a:lnTo>
                <a:lnTo>
                  <a:pt x="24485" y="0"/>
                </a:lnTo>
                <a:close/>
              </a:path>
              <a:path w="100330" h="135889">
                <a:moveTo>
                  <a:pt x="77849" y="48780"/>
                </a:moveTo>
                <a:lnTo>
                  <a:pt x="59931" y="48780"/>
                </a:lnTo>
                <a:lnTo>
                  <a:pt x="65468" y="51003"/>
                </a:lnTo>
                <a:lnTo>
                  <a:pt x="73520" y="59855"/>
                </a:lnTo>
                <a:lnTo>
                  <a:pt x="75526" y="67170"/>
                </a:lnTo>
                <a:lnTo>
                  <a:pt x="75526" y="126657"/>
                </a:lnTo>
                <a:lnTo>
                  <a:pt x="61379" y="127787"/>
                </a:lnTo>
                <a:lnTo>
                  <a:pt x="61379" y="135432"/>
                </a:lnTo>
                <a:lnTo>
                  <a:pt x="100101" y="135432"/>
                </a:lnTo>
                <a:lnTo>
                  <a:pt x="100101" y="127787"/>
                </a:lnTo>
                <a:lnTo>
                  <a:pt x="85953" y="126657"/>
                </a:lnTo>
                <a:lnTo>
                  <a:pt x="85953" y="77520"/>
                </a:lnTo>
                <a:lnTo>
                  <a:pt x="85456" y="68471"/>
                </a:lnTo>
                <a:lnTo>
                  <a:pt x="83964" y="60696"/>
                </a:lnTo>
                <a:lnTo>
                  <a:pt x="81479" y="54192"/>
                </a:lnTo>
                <a:lnTo>
                  <a:pt x="78003" y="48958"/>
                </a:lnTo>
                <a:lnTo>
                  <a:pt x="77849" y="48780"/>
                </a:lnTo>
                <a:close/>
              </a:path>
              <a:path w="100330" h="135889">
                <a:moveTo>
                  <a:pt x="65112" y="39751"/>
                </a:moveTo>
                <a:lnTo>
                  <a:pt x="48272" y="39751"/>
                </a:lnTo>
                <a:lnTo>
                  <a:pt x="42189" y="41325"/>
                </a:lnTo>
                <a:lnTo>
                  <a:pt x="31775" y="47574"/>
                </a:lnTo>
                <a:lnTo>
                  <a:pt x="27609" y="51930"/>
                </a:lnTo>
                <a:lnTo>
                  <a:pt x="24485" y="57556"/>
                </a:lnTo>
                <a:lnTo>
                  <a:pt x="30982" y="57556"/>
                </a:lnTo>
                <a:lnTo>
                  <a:pt x="39801" y="50660"/>
                </a:lnTo>
                <a:lnTo>
                  <a:pt x="45758" y="48780"/>
                </a:lnTo>
                <a:lnTo>
                  <a:pt x="77849" y="48780"/>
                </a:lnTo>
                <a:lnTo>
                  <a:pt x="72707" y="42824"/>
                </a:lnTo>
                <a:lnTo>
                  <a:pt x="65112" y="397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7" name="object 59">
            <a:extLst>
              <a:ext uri="{FF2B5EF4-FFF2-40B4-BE49-F238E27FC236}">
                <a16:creationId xmlns:a16="http://schemas.microsoft.com/office/drawing/2014/main" id="{B8EC2111-6192-44EA-8A23-A41420F32D50}"/>
              </a:ext>
            </a:extLst>
          </p:cNvPr>
          <p:cNvSpPr/>
          <p:nvPr/>
        </p:nvSpPr>
        <p:spPr>
          <a:xfrm>
            <a:off x="2350871" y="4214939"/>
            <a:ext cx="51435" cy="120014"/>
          </a:xfrm>
          <a:custGeom>
            <a:avLst/>
            <a:gdLst/>
            <a:ahLst/>
            <a:cxnLst/>
            <a:rect l="l" t="t" r="r" b="b"/>
            <a:pathLst>
              <a:path w="51434" h="120014">
                <a:moveTo>
                  <a:pt x="26657" y="32550"/>
                </a:moveTo>
                <a:lnTo>
                  <a:pt x="16154" y="32550"/>
                </a:lnTo>
                <a:lnTo>
                  <a:pt x="16154" y="102793"/>
                </a:lnTo>
                <a:lnTo>
                  <a:pt x="17994" y="109397"/>
                </a:lnTo>
                <a:lnTo>
                  <a:pt x="25336" y="117729"/>
                </a:lnTo>
                <a:lnTo>
                  <a:pt x="30480" y="119811"/>
                </a:lnTo>
                <a:lnTo>
                  <a:pt x="39560" y="119811"/>
                </a:lnTo>
                <a:lnTo>
                  <a:pt x="42049" y="119608"/>
                </a:lnTo>
                <a:lnTo>
                  <a:pt x="47028" y="118795"/>
                </a:lnTo>
                <a:lnTo>
                  <a:pt x="49149" y="118224"/>
                </a:lnTo>
                <a:lnTo>
                  <a:pt x="50876" y="117462"/>
                </a:lnTo>
                <a:lnTo>
                  <a:pt x="49506" y="110693"/>
                </a:lnTo>
                <a:lnTo>
                  <a:pt x="35191" y="110693"/>
                </a:lnTo>
                <a:lnTo>
                  <a:pt x="32208" y="109385"/>
                </a:lnTo>
                <a:lnTo>
                  <a:pt x="27774" y="104254"/>
                </a:lnTo>
                <a:lnTo>
                  <a:pt x="26657" y="99898"/>
                </a:lnTo>
                <a:lnTo>
                  <a:pt x="26657" y="32550"/>
                </a:lnTo>
                <a:close/>
              </a:path>
              <a:path w="51434" h="120014">
                <a:moveTo>
                  <a:pt x="49314" y="109740"/>
                </a:moveTo>
                <a:lnTo>
                  <a:pt x="47231" y="110083"/>
                </a:lnTo>
                <a:lnTo>
                  <a:pt x="45402" y="110337"/>
                </a:lnTo>
                <a:lnTo>
                  <a:pt x="42214" y="110617"/>
                </a:lnTo>
                <a:lnTo>
                  <a:pt x="40576" y="110693"/>
                </a:lnTo>
                <a:lnTo>
                  <a:pt x="49506" y="110693"/>
                </a:lnTo>
                <a:lnTo>
                  <a:pt x="49314" y="109740"/>
                </a:lnTo>
                <a:close/>
              </a:path>
              <a:path w="51434" h="120014">
                <a:moveTo>
                  <a:pt x="47320" y="24053"/>
                </a:moveTo>
                <a:lnTo>
                  <a:pt x="0" y="24053"/>
                </a:lnTo>
                <a:lnTo>
                  <a:pt x="0" y="32550"/>
                </a:lnTo>
                <a:lnTo>
                  <a:pt x="47320" y="32550"/>
                </a:lnTo>
                <a:lnTo>
                  <a:pt x="47320" y="24053"/>
                </a:lnTo>
                <a:close/>
              </a:path>
              <a:path w="51434" h="120014">
                <a:moveTo>
                  <a:pt x="26657" y="0"/>
                </a:moveTo>
                <a:lnTo>
                  <a:pt x="16154" y="0"/>
                </a:lnTo>
                <a:lnTo>
                  <a:pt x="16154" y="24053"/>
                </a:lnTo>
                <a:lnTo>
                  <a:pt x="26657" y="24053"/>
                </a:lnTo>
                <a:lnTo>
                  <a:pt x="26657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9" name="object 60">
            <a:extLst>
              <a:ext uri="{FF2B5EF4-FFF2-40B4-BE49-F238E27FC236}">
                <a16:creationId xmlns:a16="http://schemas.microsoft.com/office/drawing/2014/main" id="{A5784091-3DEF-4616-ABCA-67EC0F75360B}"/>
              </a:ext>
            </a:extLst>
          </p:cNvPr>
          <p:cNvSpPr/>
          <p:nvPr/>
        </p:nvSpPr>
        <p:spPr>
          <a:xfrm>
            <a:off x="2417902" y="42372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4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8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4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4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4" h="97789">
                <a:moveTo>
                  <a:pt x="38201" y="0"/>
                </a:moveTo>
                <a:lnTo>
                  <a:pt x="31368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1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6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1" name="object 61">
            <a:extLst>
              <a:ext uri="{FF2B5EF4-FFF2-40B4-BE49-F238E27FC236}">
                <a16:creationId xmlns:a16="http://schemas.microsoft.com/office/drawing/2014/main" id="{05398A7C-8357-426F-845C-4858350F4003}"/>
              </a:ext>
            </a:extLst>
          </p:cNvPr>
          <p:cNvSpPr/>
          <p:nvPr/>
        </p:nvSpPr>
        <p:spPr>
          <a:xfrm>
            <a:off x="2515831" y="4237254"/>
            <a:ext cx="76200" cy="133985"/>
          </a:xfrm>
          <a:custGeom>
            <a:avLst/>
            <a:gdLst/>
            <a:ahLst/>
            <a:cxnLst/>
            <a:rect l="l" t="t" r="r" b="b"/>
            <a:pathLst>
              <a:path w="76200" h="133985">
                <a:moveTo>
                  <a:pt x="13360" y="118681"/>
                </a:moveTo>
                <a:lnTo>
                  <a:pt x="33947" y="133604"/>
                </a:lnTo>
                <a:lnTo>
                  <a:pt x="38455" y="133604"/>
                </a:lnTo>
                <a:lnTo>
                  <a:pt x="46737" y="132948"/>
                </a:lnTo>
                <a:lnTo>
                  <a:pt x="54055" y="130981"/>
                </a:lnTo>
                <a:lnTo>
                  <a:pt x="60410" y="127699"/>
                </a:lnTo>
                <a:lnTo>
                  <a:pt x="64370" y="124320"/>
                </a:lnTo>
                <a:lnTo>
                  <a:pt x="33705" y="124320"/>
                </a:lnTo>
                <a:lnTo>
                  <a:pt x="29349" y="123825"/>
                </a:lnTo>
                <a:lnTo>
                  <a:pt x="21081" y="121869"/>
                </a:lnTo>
                <a:lnTo>
                  <a:pt x="17132" y="120472"/>
                </a:lnTo>
                <a:lnTo>
                  <a:pt x="13360" y="118681"/>
                </a:lnTo>
                <a:close/>
              </a:path>
              <a:path w="76200" h="133985">
                <a:moveTo>
                  <a:pt x="75615" y="82562"/>
                </a:moveTo>
                <a:lnTo>
                  <a:pt x="65189" y="82562"/>
                </a:lnTo>
                <a:lnTo>
                  <a:pt x="65189" y="103835"/>
                </a:lnTo>
                <a:lnTo>
                  <a:pt x="62941" y="111150"/>
                </a:lnTo>
                <a:lnTo>
                  <a:pt x="53911" y="121691"/>
                </a:lnTo>
                <a:lnTo>
                  <a:pt x="47193" y="124320"/>
                </a:lnTo>
                <a:lnTo>
                  <a:pt x="64370" y="124320"/>
                </a:lnTo>
                <a:lnTo>
                  <a:pt x="75490" y="96202"/>
                </a:lnTo>
                <a:lnTo>
                  <a:pt x="75615" y="82562"/>
                </a:lnTo>
                <a:close/>
              </a:path>
              <a:path w="76200" h="133985">
                <a:moveTo>
                  <a:pt x="42849" y="0"/>
                </a:moveTo>
                <a:lnTo>
                  <a:pt x="36194" y="0"/>
                </a:lnTo>
                <a:lnTo>
                  <a:pt x="28151" y="843"/>
                </a:lnTo>
                <a:lnTo>
                  <a:pt x="2398" y="29241"/>
                </a:lnTo>
                <a:lnTo>
                  <a:pt x="0" y="49479"/>
                </a:lnTo>
                <a:lnTo>
                  <a:pt x="0" y="51308"/>
                </a:lnTo>
                <a:lnTo>
                  <a:pt x="14784" y="90420"/>
                </a:lnTo>
                <a:lnTo>
                  <a:pt x="36029" y="97497"/>
                </a:lnTo>
                <a:lnTo>
                  <a:pt x="42570" y="97497"/>
                </a:lnTo>
                <a:lnTo>
                  <a:pt x="48259" y="96202"/>
                </a:lnTo>
                <a:lnTo>
                  <a:pt x="57988" y="91059"/>
                </a:lnTo>
                <a:lnTo>
                  <a:pt x="60810" y="88468"/>
                </a:lnTo>
                <a:lnTo>
                  <a:pt x="28790" y="88468"/>
                </a:lnTo>
                <a:lnTo>
                  <a:pt x="21920" y="85090"/>
                </a:lnTo>
                <a:lnTo>
                  <a:pt x="10413" y="51308"/>
                </a:lnTo>
                <a:lnTo>
                  <a:pt x="10413" y="49479"/>
                </a:lnTo>
                <a:lnTo>
                  <a:pt x="22059" y="12788"/>
                </a:lnTo>
                <a:lnTo>
                  <a:pt x="28955" y="9029"/>
                </a:lnTo>
                <a:lnTo>
                  <a:pt x="60097" y="9029"/>
                </a:lnTo>
                <a:lnTo>
                  <a:pt x="58407" y="7302"/>
                </a:lnTo>
                <a:lnTo>
                  <a:pt x="48628" y="1460"/>
                </a:lnTo>
                <a:lnTo>
                  <a:pt x="42849" y="0"/>
                </a:lnTo>
                <a:close/>
              </a:path>
              <a:path w="76200" h="133985">
                <a:moveTo>
                  <a:pt x="60097" y="9029"/>
                </a:moveTo>
                <a:lnTo>
                  <a:pt x="45173" y="9029"/>
                </a:lnTo>
                <a:lnTo>
                  <a:pt x="50876" y="10756"/>
                </a:lnTo>
                <a:lnTo>
                  <a:pt x="59550" y="17640"/>
                </a:lnTo>
                <a:lnTo>
                  <a:pt x="62877" y="22110"/>
                </a:lnTo>
                <a:lnTo>
                  <a:pt x="65189" y="27609"/>
                </a:lnTo>
                <a:lnTo>
                  <a:pt x="65189" y="71183"/>
                </a:lnTo>
                <a:lnTo>
                  <a:pt x="62763" y="76568"/>
                </a:lnTo>
                <a:lnTo>
                  <a:pt x="59308" y="80797"/>
                </a:lnTo>
                <a:lnTo>
                  <a:pt x="50342" y="86931"/>
                </a:lnTo>
                <a:lnTo>
                  <a:pt x="44703" y="88468"/>
                </a:lnTo>
                <a:lnTo>
                  <a:pt x="60810" y="88468"/>
                </a:lnTo>
                <a:lnTo>
                  <a:pt x="62014" y="87363"/>
                </a:lnTo>
                <a:lnTo>
                  <a:pt x="65189" y="82562"/>
                </a:lnTo>
                <a:lnTo>
                  <a:pt x="75615" y="82562"/>
                </a:lnTo>
                <a:lnTo>
                  <a:pt x="75615" y="16751"/>
                </a:lnTo>
                <a:lnTo>
                  <a:pt x="65633" y="16751"/>
                </a:lnTo>
                <a:lnTo>
                  <a:pt x="62445" y="11430"/>
                </a:lnTo>
                <a:lnTo>
                  <a:pt x="60097" y="9029"/>
                </a:lnTo>
                <a:close/>
              </a:path>
              <a:path w="76200" h="133985">
                <a:moveTo>
                  <a:pt x="75615" y="1739"/>
                </a:moveTo>
                <a:lnTo>
                  <a:pt x="66840" y="1739"/>
                </a:lnTo>
                <a:lnTo>
                  <a:pt x="65633" y="16751"/>
                </a:lnTo>
                <a:lnTo>
                  <a:pt x="75615" y="16751"/>
                </a:lnTo>
                <a:lnTo>
                  <a:pt x="75615" y="1739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3" name="object 62">
            <a:extLst>
              <a:ext uri="{FF2B5EF4-FFF2-40B4-BE49-F238E27FC236}">
                <a16:creationId xmlns:a16="http://schemas.microsoft.com/office/drawing/2014/main" id="{0CE2BA5F-0520-4A0F-9EAE-4880B937A078}"/>
              </a:ext>
            </a:extLst>
          </p:cNvPr>
          <p:cNvSpPr/>
          <p:nvPr/>
        </p:nvSpPr>
        <p:spPr>
          <a:xfrm>
            <a:off x="2655506" y="4197490"/>
            <a:ext cx="325297" cy="137261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5" name="object 63">
            <a:extLst>
              <a:ext uri="{FF2B5EF4-FFF2-40B4-BE49-F238E27FC236}">
                <a16:creationId xmlns:a16="http://schemas.microsoft.com/office/drawing/2014/main" id="{4772A4DB-F65D-437C-BB28-4C5CC27E3E45}"/>
              </a:ext>
            </a:extLst>
          </p:cNvPr>
          <p:cNvSpPr/>
          <p:nvPr/>
        </p:nvSpPr>
        <p:spPr>
          <a:xfrm>
            <a:off x="3040201" y="4237240"/>
            <a:ext cx="244386" cy="97510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7" name="object 64">
            <a:extLst>
              <a:ext uri="{FF2B5EF4-FFF2-40B4-BE49-F238E27FC236}">
                <a16:creationId xmlns:a16="http://schemas.microsoft.com/office/drawing/2014/main" id="{934E7A57-A54E-4E88-A6D2-C5D9670C0443}"/>
              </a:ext>
            </a:extLst>
          </p:cNvPr>
          <p:cNvSpPr/>
          <p:nvPr/>
        </p:nvSpPr>
        <p:spPr>
          <a:xfrm>
            <a:off x="3345700" y="4197489"/>
            <a:ext cx="154279" cy="13543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9" name="object 65">
            <a:extLst>
              <a:ext uri="{FF2B5EF4-FFF2-40B4-BE49-F238E27FC236}">
                <a16:creationId xmlns:a16="http://schemas.microsoft.com/office/drawing/2014/main" id="{B359DD9D-0DF1-4653-B96E-34DD120C23FB}"/>
              </a:ext>
            </a:extLst>
          </p:cNvPr>
          <p:cNvSpPr/>
          <p:nvPr/>
        </p:nvSpPr>
        <p:spPr>
          <a:xfrm>
            <a:off x="3557448" y="4197489"/>
            <a:ext cx="301167" cy="137248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1" name="object 66">
            <a:extLst>
              <a:ext uri="{FF2B5EF4-FFF2-40B4-BE49-F238E27FC236}">
                <a16:creationId xmlns:a16="http://schemas.microsoft.com/office/drawing/2014/main" id="{76D43318-4CA2-40B8-8F71-7EF86509BD33}"/>
              </a:ext>
            </a:extLst>
          </p:cNvPr>
          <p:cNvSpPr/>
          <p:nvPr/>
        </p:nvSpPr>
        <p:spPr>
          <a:xfrm>
            <a:off x="3916869" y="4197490"/>
            <a:ext cx="366356" cy="137261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3" name="object 67">
            <a:extLst>
              <a:ext uri="{FF2B5EF4-FFF2-40B4-BE49-F238E27FC236}">
                <a16:creationId xmlns:a16="http://schemas.microsoft.com/office/drawing/2014/main" id="{EE0DF93A-575E-48CE-BF21-BB605FD9CE57}"/>
              </a:ext>
            </a:extLst>
          </p:cNvPr>
          <p:cNvSpPr/>
          <p:nvPr/>
        </p:nvSpPr>
        <p:spPr>
          <a:xfrm>
            <a:off x="4337672" y="4237240"/>
            <a:ext cx="370001" cy="133616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5" name="object 68">
            <a:extLst>
              <a:ext uri="{FF2B5EF4-FFF2-40B4-BE49-F238E27FC236}">
                <a16:creationId xmlns:a16="http://schemas.microsoft.com/office/drawing/2014/main" id="{6E70BDE0-3464-4639-B2D6-1EB052E17AAC}"/>
              </a:ext>
            </a:extLst>
          </p:cNvPr>
          <p:cNvSpPr/>
          <p:nvPr/>
        </p:nvSpPr>
        <p:spPr>
          <a:xfrm>
            <a:off x="1595831" y="4464190"/>
            <a:ext cx="273290" cy="137261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7" name="object 69">
            <a:extLst>
              <a:ext uri="{FF2B5EF4-FFF2-40B4-BE49-F238E27FC236}">
                <a16:creationId xmlns:a16="http://schemas.microsoft.com/office/drawing/2014/main" id="{2A5DBC5F-003E-4E60-9112-C1CD4DF2C6D0}"/>
              </a:ext>
            </a:extLst>
          </p:cNvPr>
          <p:cNvSpPr/>
          <p:nvPr/>
        </p:nvSpPr>
        <p:spPr>
          <a:xfrm>
            <a:off x="1888230" y="4481640"/>
            <a:ext cx="135426" cy="119811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9" name="object 70">
            <a:extLst>
              <a:ext uri="{FF2B5EF4-FFF2-40B4-BE49-F238E27FC236}">
                <a16:creationId xmlns:a16="http://schemas.microsoft.com/office/drawing/2014/main" id="{C04FEA78-ED6B-45BD-9ABA-4C6AA50F328D}"/>
              </a:ext>
            </a:extLst>
          </p:cNvPr>
          <p:cNvSpPr/>
          <p:nvPr/>
        </p:nvSpPr>
        <p:spPr>
          <a:xfrm>
            <a:off x="2087383" y="4541367"/>
            <a:ext cx="41910" cy="8890"/>
          </a:xfrm>
          <a:custGeom>
            <a:avLst/>
            <a:gdLst/>
            <a:ahLst/>
            <a:cxnLst/>
            <a:rect l="l" t="t" r="r" b="b"/>
            <a:pathLst>
              <a:path w="41909" h="8889">
                <a:moveTo>
                  <a:pt x="41503" y="8762"/>
                </a:moveTo>
                <a:lnTo>
                  <a:pt x="0" y="8762"/>
                </a:lnTo>
                <a:lnTo>
                  <a:pt x="0" y="0"/>
                </a:lnTo>
                <a:lnTo>
                  <a:pt x="41503" y="0"/>
                </a:lnTo>
                <a:lnTo>
                  <a:pt x="41503" y="8762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1" name="object 71">
            <a:extLst>
              <a:ext uri="{FF2B5EF4-FFF2-40B4-BE49-F238E27FC236}">
                <a16:creationId xmlns:a16="http://schemas.microsoft.com/office/drawing/2014/main" id="{8A2E0D09-AE4A-4140-88A0-3E8FA56C60AC}"/>
              </a:ext>
            </a:extLst>
          </p:cNvPr>
          <p:cNvSpPr/>
          <p:nvPr/>
        </p:nvSpPr>
        <p:spPr>
          <a:xfrm>
            <a:off x="2192603" y="4464190"/>
            <a:ext cx="1425524" cy="173367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3" name="object 72">
            <a:extLst>
              <a:ext uri="{FF2B5EF4-FFF2-40B4-BE49-F238E27FC236}">
                <a16:creationId xmlns:a16="http://schemas.microsoft.com/office/drawing/2014/main" id="{56D08761-C21C-45BE-8461-919A07680D07}"/>
              </a:ext>
            </a:extLst>
          </p:cNvPr>
          <p:cNvSpPr/>
          <p:nvPr/>
        </p:nvSpPr>
        <p:spPr>
          <a:xfrm>
            <a:off x="3684282" y="4464189"/>
            <a:ext cx="1017917" cy="171538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5" name="object 73">
            <a:extLst>
              <a:ext uri="{FF2B5EF4-FFF2-40B4-BE49-F238E27FC236}">
                <a16:creationId xmlns:a16="http://schemas.microsoft.com/office/drawing/2014/main" id="{0BC5FDD7-DBE6-4697-B07D-2133CCC9C75C}"/>
              </a:ext>
            </a:extLst>
          </p:cNvPr>
          <p:cNvSpPr/>
          <p:nvPr/>
        </p:nvSpPr>
        <p:spPr>
          <a:xfrm>
            <a:off x="1616664" y="4730889"/>
            <a:ext cx="100330" cy="135890"/>
          </a:xfrm>
          <a:custGeom>
            <a:avLst/>
            <a:gdLst/>
            <a:ahLst/>
            <a:cxnLst/>
            <a:rect l="l" t="t" r="r" b="b"/>
            <a:pathLst>
              <a:path w="100330" h="135889">
                <a:moveTo>
                  <a:pt x="24485" y="0"/>
                </a:moveTo>
                <a:lnTo>
                  <a:pt x="0" y="0"/>
                </a:lnTo>
                <a:lnTo>
                  <a:pt x="0" y="7721"/>
                </a:lnTo>
                <a:lnTo>
                  <a:pt x="14147" y="8851"/>
                </a:lnTo>
                <a:lnTo>
                  <a:pt x="14147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85" y="126657"/>
                </a:lnTo>
                <a:lnTo>
                  <a:pt x="24485" y="69278"/>
                </a:lnTo>
                <a:lnTo>
                  <a:pt x="26733" y="63080"/>
                </a:lnTo>
                <a:lnTo>
                  <a:pt x="30251" y="58127"/>
                </a:lnTo>
                <a:lnTo>
                  <a:pt x="30982" y="57556"/>
                </a:lnTo>
                <a:lnTo>
                  <a:pt x="24485" y="57556"/>
                </a:lnTo>
                <a:lnTo>
                  <a:pt x="24485" y="0"/>
                </a:lnTo>
                <a:close/>
              </a:path>
              <a:path w="100330" h="135889">
                <a:moveTo>
                  <a:pt x="77849" y="48780"/>
                </a:moveTo>
                <a:lnTo>
                  <a:pt x="59931" y="48780"/>
                </a:lnTo>
                <a:lnTo>
                  <a:pt x="65468" y="51003"/>
                </a:lnTo>
                <a:lnTo>
                  <a:pt x="73520" y="59855"/>
                </a:lnTo>
                <a:lnTo>
                  <a:pt x="75526" y="67170"/>
                </a:lnTo>
                <a:lnTo>
                  <a:pt x="75526" y="126657"/>
                </a:lnTo>
                <a:lnTo>
                  <a:pt x="61379" y="127787"/>
                </a:lnTo>
                <a:lnTo>
                  <a:pt x="61379" y="135432"/>
                </a:lnTo>
                <a:lnTo>
                  <a:pt x="100101" y="135432"/>
                </a:lnTo>
                <a:lnTo>
                  <a:pt x="100101" y="127787"/>
                </a:lnTo>
                <a:lnTo>
                  <a:pt x="85953" y="126657"/>
                </a:lnTo>
                <a:lnTo>
                  <a:pt x="85953" y="77520"/>
                </a:lnTo>
                <a:lnTo>
                  <a:pt x="85456" y="68471"/>
                </a:lnTo>
                <a:lnTo>
                  <a:pt x="83964" y="60696"/>
                </a:lnTo>
                <a:lnTo>
                  <a:pt x="81479" y="54192"/>
                </a:lnTo>
                <a:lnTo>
                  <a:pt x="78003" y="48958"/>
                </a:lnTo>
                <a:lnTo>
                  <a:pt x="77849" y="48780"/>
                </a:lnTo>
                <a:close/>
              </a:path>
              <a:path w="100330" h="135889">
                <a:moveTo>
                  <a:pt x="65112" y="39751"/>
                </a:moveTo>
                <a:lnTo>
                  <a:pt x="48272" y="39751"/>
                </a:lnTo>
                <a:lnTo>
                  <a:pt x="42189" y="41325"/>
                </a:lnTo>
                <a:lnTo>
                  <a:pt x="31775" y="47574"/>
                </a:lnTo>
                <a:lnTo>
                  <a:pt x="27609" y="51930"/>
                </a:lnTo>
                <a:lnTo>
                  <a:pt x="24485" y="57556"/>
                </a:lnTo>
                <a:lnTo>
                  <a:pt x="30982" y="57556"/>
                </a:lnTo>
                <a:lnTo>
                  <a:pt x="39801" y="50660"/>
                </a:lnTo>
                <a:lnTo>
                  <a:pt x="45758" y="48780"/>
                </a:lnTo>
                <a:lnTo>
                  <a:pt x="77849" y="48780"/>
                </a:lnTo>
                <a:lnTo>
                  <a:pt x="72707" y="42824"/>
                </a:lnTo>
                <a:lnTo>
                  <a:pt x="65112" y="397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7" name="object 74">
            <a:extLst>
              <a:ext uri="{FF2B5EF4-FFF2-40B4-BE49-F238E27FC236}">
                <a16:creationId xmlns:a16="http://schemas.microsoft.com/office/drawing/2014/main" id="{7DF0EB5C-DE93-41E7-8145-1A8382CF2450}"/>
              </a:ext>
            </a:extLst>
          </p:cNvPr>
          <p:cNvSpPr/>
          <p:nvPr/>
        </p:nvSpPr>
        <p:spPr>
          <a:xfrm>
            <a:off x="1733002" y="47706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4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8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4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4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4" h="97789">
                <a:moveTo>
                  <a:pt x="38201" y="0"/>
                </a:moveTo>
                <a:lnTo>
                  <a:pt x="31368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1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6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9" name="object 75">
            <a:extLst>
              <a:ext uri="{FF2B5EF4-FFF2-40B4-BE49-F238E27FC236}">
                <a16:creationId xmlns:a16="http://schemas.microsoft.com/office/drawing/2014/main" id="{B0DE4399-3587-47B0-AB14-1F442FAB88D8}"/>
              </a:ext>
            </a:extLst>
          </p:cNvPr>
          <p:cNvSpPr/>
          <p:nvPr/>
        </p:nvSpPr>
        <p:spPr>
          <a:xfrm>
            <a:off x="1832146" y="4770653"/>
            <a:ext cx="68580" cy="97790"/>
          </a:xfrm>
          <a:custGeom>
            <a:avLst/>
            <a:gdLst/>
            <a:ahLst/>
            <a:cxnLst/>
            <a:rect l="l" t="t" r="r" b="b"/>
            <a:pathLst>
              <a:path w="68580" h="97789">
                <a:moveTo>
                  <a:pt x="8420" y="67462"/>
                </a:moveTo>
                <a:lnTo>
                  <a:pt x="0" y="67462"/>
                </a:lnTo>
                <a:lnTo>
                  <a:pt x="0" y="86385"/>
                </a:lnTo>
                <a:lnTo>
                  <a:pt x="4165" y="89916"/>
                </a:lnTo>
                <a:lnTo>
                  <a:pt x="9093" y="92646"/>
                </a:lnTo>
                <a:lnTo>
                  <a:pt x="20497" y="96532"/>
                </a:lnTo>
                <a:lnTo>
                  <a:pt x="26822" y="97497"/>
                </a:lnTo>
                <a:lnTo>
                  <a:pt x="33769" y="97497"/>
                </a:lnTo>
                <a:lnTo>
                  <a:pt x="60915" y="88722"/>
                </a:lnTo>
                <a:lnTo>
                  <a:pt x="29133" y="88722"/>
                </a:lnTo>
                <a:lnTo>
                  <a:pt x="24688" y="88112"/>
                </a:lnTo>
                <a:lnTo>
                  <a:pt x="16192" y="85610"/>
                </a:lnTo>
                <a:lnTo>
                  <a:pt x="12674" y="83604"/>
                </a:lnTo>
                <a:lnTo>
                  <a:pt x="9893" y="80822"/>
                </a:lnTo>
                <a:lnTo>
                  <a:pt x="8420" y="67462"/>
                </a:lnTo>
                <a:close/>
              </a:path>
              <a:path w="68580" h="97789">
                <a:moveTo>
                  <a:pt x="40132" y="0"/>
                </a:moveTo>
                <a:lnTo>
                  <a:pt x="23291" y="0"/>
                </a:lnTo>
                <a:lnTo>
                  <a:pt x="15278" y="2463"/>
                </a:lnTo>
                <a:lnTo>
                  <a:pt x="3124" y="12369"/>
                </a:lnTo>
                <a:lnTo>
                  <a:pt x="88" y="18427"/>
                </a:lnTo>
                <a:lnTo>
                  <a:pt x="88" y="32842"/>
                </a:lnTo>
                <a:lnTo>
                  <a:pt x="33070" y="52171"/>
                </a:lnTo>
                <a:lnTo>
                  <a:pt x="42506" y="54267"/>
                </a:lnTo>
                <a:lnTo>
                  <a:pt x="49034" y="56946"/>
                </a:lnTo>
                <a:lnTo>
                  <a:pt x="56261" y="63550"/>
                </a:lnTo>
                <a:lnTo>
                  <a:pt x="58077" y="67398"/>
                </a:lnTo>
                <a:lnTo>
                  <a:pt x="58077" y="76492"/>
                </a:lnTo>
                <a:lnTo>
                  <a:pt x="55905" y="80479"/>
                </a:lnTo>
                <a:lnTo>
                  <a:pt x="47218" y="87083"/>
                </a:lnTo>
                <a:lnTo>
                  <a:pt x="41287" y="88722"/>
                </a:lnTo>
                <a:lnTo>
                  <a:pt x="60915" y="88722"/>
                </a:lnTo>
                <a:lnTo>
                  <a:pt x="65239" y="85420"/>
                </a:lnTo>
                <a:lnTo>
                  <a:pt x="68402" y="79095"/>
                </a:lnTo>
                <a:lnTo>
                  <a:pt x="68402" y="63868"/>
                </a:lnTo>
                <a:lnTo>
                  <a:pt x="34988" y="43497"/>
                </a:lnTo>
                <a:lnTo>
                  <a:pt x="25209" y="41351"/>
                </a:lnTo>
                <a:lnTo>
                  <a:pt x="18669" y="38874"/>
                </a:lnTo>
                <a:lnTo>
                  <a:pt x="12141" y="33185"/>
                </a:lnTo>
                <a:lnTo>
                  <a:pt x="10502" y="29603"/>
                </a:lnTo>
                <a:lnTo>
                  <a:pt x="10502" y="20866"/>
                </a:lnTo>
                <a:lnTo>
                  <a:pt x="12395" y="17030"/>
                </a:lnTo>
                <a:lnTo>
                  <a:pt x="19977" y="10490"/>
                </a:lnTo>
                <a:lnTo>
                  <a:pt x="25666" y="8851"/>
                </a:lnTo>
                <a:lnTo>
                  <a:pt x="63185" y="8851"/>
                </a:lnTo>
                <a:lnTo>
                  <a:pt x="62471" y="8140"/>
                </a:lnTo>
                <a:lnTo>
                  <a:pt x="57823" y="5283"/>
                </a:lnTo>
                <a:lnTo>
                  <a:pt x="46431" y="1054"/>
                </a:lnTo>
                <a:lnTo>
                  <a:pt x="40132" y="0"/>
                </a:lnTo>
                <a:close/>
              </a:path>
              <a:path w="68580" h="97789">
                <a:moveTo>
                  <a:pt x="63185" y="8851"/>
                </a:moveTo>
                <a:lnTo>
                  <a:pt x="38404" y="8851"/>
                </a:lnTo>
                <a:lnTo>
                  <a:pt x="42951" y="9613"/>
                </a:lnTo>
                <a:lnTo>
                  <a:pt x="50888" y="12611"/>
                </a:lnTo>
                <a:lnTo>
                  <a:pt x="54165" y="14732"/>
                </a:lnTo>
                <a:lnTo>
                  <a:pt x="56769" y="17449"/>
                </a:lnTo>
                <a:lnTo>
                  <a:pt x="57988" y="30734"/>
                </a:lnTo>
                <a:lnTo>
                  <a:pt x="66497" y="30734"/>
                </a:lnTo>
                <a:lnTo>
                  <a:pt x="66065" y="11722"/>
                </a:lnTo>
                <a:lnTo>
                  <a:pt x="63185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1" name="object 76">
            <a:extLst>
              <a:ext uri="{FF2B5EF4-FFF2-40B4-BE49-F238E27FC236}">
                <a16:creationId xmlns:a16="http://schemas.microsoft.com/office/drawing/2014/main" id="{24B4177B-E525-438B-AC38-0AF5CF0C4976}"/>
              </a:ext>
            </a:extLst>
          </p:cNvPr>
          <p:cNvSpPr/>
          <p:nvPr/>
        </p:nvSpPr>
        <p:spPr>
          <a:xfrm>
            <a:off x="1916441" y="4730889"/>
            <a:ext cx="100330" cy="135890"/>
          </a:xfrm>
          <a:custGeom>
            <a:avLst/>
            <a:gdLst/>
            <a:ahLst/>
            <a:cxnLst/>
            <a:rect l="l" t="t" r="r" b="b"/>
            <a:pathLst>
              <a:path w="100330" h="135889">
                <a:moveTo>
                  <a:pt x="24485" y="0"/>
                </a:moveTo>
                <a:lnTo>
                  <a:pt x="0" y="0"/>
                </a:lnTo>
                <a:lnTo>
                  <a:pt x="0" y="7721"/>
                </a:lnTo>
                <a:lnTo>
                  <a:pt x="14147" y="8851"/>
                </a:lnTo>
                <a:lnTo>
                  <a:pt x="14147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85" y="126657"/>
                </a:lnTo>
                <a:lnTo>
                  <a:pt x="24485" y="69278"/>
                </a:lnTo>
                <a:lnTo>
                  <a:pt x="26733" y="63080"/>
                </a:lnTo>
                <a:lnTo>
                  <a:pt x="30251" y="58127"/>
                </a:lnTo>
                <a:lnTo>
                  <a:pt x="30982" y="57556"/>
                </a:lnTo>
                <a:lnTo>
                  <a:pt x="24485" y="57556"/>
                </a:lnTo>
                <a:lnTo>
                  <a:pt x="24485" y="0"/>
                </a:lnTo>
                <a:close/>
              </a:path>
              <a:path w="100330" h="135889">
                <a:moveTo>
                  <a:pt x="77849" y="48780"/>
                </a:moveTo>
                <a:lnTo>
                  <a:pt x="59931" y="48780"/>
                </a:lnTo>
                <a:lnTo>
                  <a:pt x="65468" y="51003"/>
                </a:lnTo>
                <a:lnTo>
                  <a:pt x="73520" y="59855"/>
                </a:lnTo>
                <a:lnTo>
                  <a:pt x="75526" y="67170"/>
                </a:lnTo>
                <a:lnTo>
                  <a:pt x="75526" y="126657"/>
                </a:lnTo>
                <a:lnTo>
                  <a:pt x="61379" y="127787"/>
                </a:lnTo>
                <a:lnTo>
                  <a:pt x="61379" y="135432"/>
                </a:lnTo>
                <a:lnTo>
                  <a:pt x="100101" y="135432"/>
                </a:lnTo>
                <a:lnTo>
                  <a:pt x="100101" y="127787"/>
                </a:lnTo>
                <a:lnTo>
                  <a:pt x="85953" y="126657"/>
                </a:lnTo>
                <a:lnTo>
                  <a:pt x="85953" y="77520"/>
                </a:lnTo>
                <a:lnTo>
                  <a:pt x="85456" y="68471"/>
                </a:lnTo>
                <a:lnTo>
                  <a:pt x="83964" y="60696"/>
                </a:lnTo>
                <a:lnTo>
                  <a:pt x="81479" y="54192"/>
                </a:lnTo>
                <a:lnTo>
                  <a:pt x="78003" y="48958"/>
                </a:lnTo>
                <a:lnTo>
                  <a:pt x="77849" y="48780"/>
                </a:lnTo>
                <a:close/>
              </a:path>
              <a:path w="100330" h="135889">
                <a:moveTo>
                  <a:pt x="65112" y="39751"/>
                </a:moveTo>
                <a:lnTo>
                  <a:pt x="48272" y="39751"/>
                </a:lnTo>
                <a:lnTo>
                  <a:pt x="42189" y="41325"/>
                </a:lnTo>
                <a:lnTo>
                  <a:pt x="31775" y="47574"/>
                </a:lnTo>
                <a:lnTo>
                  <a:pt x="27609" y="51930"/>
                </a:lnTo>
                <a:lnTo>
                  <a:pt x="24485" y="57556"/>
                </a:lnTo>
                <a:lnTo>
                  <a:pt x="30982" y="57556"/>
                </a:lnTo>
                <a:lnTo>
                  <a:pt x="39801" y="50660"/>
                </a:lnTo>
                <a:lnTo>
                  <a:pt x="45758" y="48780"/>
                </a:lnTo>
                <a:lnTo>
                  <a:pt x="77849" y="48780"/>
                </a:lnTo>
                <a:lnTo>
                  <a:pt x="72707" y="42824"/>
                </a:lnTo>
                <a:lnTo>
                  <a:pt x="65112" y="397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3" name="object 77">
            <a:extLst>
              <a:ext uri="{FF2B5EF4-FFF2-40B4-BE49-F238E27FC236}">
                <a16:creationId xmlns:a16="http://schemas.microsoft.com/office/drawing/2014/main" id="{5EA56641-010C-4E76-A9C2-EFB9A521472A}"/>
              </a:ext>
            </a:extLst>
          </p:cNvPr>
          <p:cNvSpPr/>
          <p:nvPr/>
        </p:nvSpPr>
        <p:spPr>
          <a:xfrm>
            <a:off x="2029386" y="4748339"/>
            <a:ext cx="51435" cy="120014"/>
          </a:xfrm>
          <a:custGeom>
            <a:avLst/>
            <a:gdLst/>
            <a:ahLst/>
            <a:cxnLst/>
            <a:rect l="l" t="t" r="r" b="b"/>
            <a:pathLst>
              <a:path w="51434" h="120014">
                <a:moveTo>
                  <a:pt x="26657" y="32550"/>
                </a:moveTo>
                <a:lnTo>
                  <a:pt x="16154" y="32550"/>
                </a:lnTo>
                <a:lnTo>
                  <a:pt x="16154" y="102793"/>
                </a:lnTo>
                <a:lnTo>
                  <a:pt x="17994" y="109397"/>
                </a:lnTo>
                <a:lnTo>
                  <a:pt x="25336" y="117729"/>
                </a:lnTo>
                <a:lnTo>
                  <a:pt x="30480" y="119811"/>
                </a:lnTo>
                <a:lnTo>
                  <a:pt x="39560" y="119811"/>
                </a:lnTo>
                <a:lnTo>
                  <a:pt x="42049" y="119608"/>
                </a:lnTo>
                <a:lnTo>
                  <a:pt x="47028" y="118795"/>
                </a:lnTo>
                <a:lnTo>
                  <a:pt x="49149" y="118224"/>
                </a:lnTo>
                <a:lnTo>
                  <a:pt x="50876" y="117462"/>
                </a:lnTo>
                <a:lnTo>
                  <a:pt x="49506" y="110693"/>
                </a:lnTo>
                <a:lnTo>
                  <a:pt x="35191" y="110693"/>
                </a:lnTo>
                <a:lnTo>
                  <a:pt x="32208" y="109385"/>
                </a:lnTo>
                <a:lnTo>
                  <a:pt x="27774" y="104254"/>
                </a:lnTo>
                <a:lnTo>
                  <a:pt x="26657" y="99898"/>
                </a:lnTo>
                <a:lnTo>
                  <a:pt x="26657" y="32550"/>
                </a:lnTo>
                <a:close/>
              </a:path>
              <a:path w="51434" h="120014">
                <a:moveTo>
                  <a:pt x="49314" y="109740"/>
                </a:moveTo>
                <a:lnTo>
                  <a:pt x="47231" y="110083"/>
                </a:lnTo>
                <a:lnTo>
                  <a:pt x="45402" y="110337"/>
                </a:lnTo>
                <a:lnTo>
                  <a:pt x="42214" y="110617"/>
                </a:lnTo>
                <a:lnTo>
                  <a:pt x="40576" y="110693"/>
                </a:lnTo>
                <a:lnTo>
                  <a:pt x="49506" y="110693"/>
                </a:lnTo>
                <a:lnTo>
                  <a:pt x="49314" y="109740"/>
                </a:lnTo>
                <a:close/>
              </a:path>
              <a:path w="51434" h="120014">
                <a:moveTo>
                  <a:pt x="47320" y="24053"/>
                </a:moveTo>
                <a:lnTo>
                  <a:pt x="0" y="24053"/>
                </a:lnTo>
                <a:lnTo>
                  <a:pt x="0" y="32550"/>
                </a:lnTo>
                <a:lnTo>
                  <a:pt x="47320" y="32550"/>
                </a:lnTo>
                <a:lnTo>
                  <a:pt x="47320" y="24053"/>
                </a:lnTo>
                <a:close/>
              </a:path>
              <a:path w="51434" h="120014">
                <a:moveTo>
                  <a:pt x="26657" y="0"/>
                </a:moveTo>
                <a:lnTo>
                  <a:pt x="16154" y="0"/>
                </a:lnTo>
                <a:lnTo>
                  <a:pt x="16154" y="24053"/>
                </a:lnTo>
                <a:lnTo>
                  <a:pt x="26657" y="24053"/>
                </a:lnTo>
                <a:lnTo>
                  <a:pt x="26657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5" name="object 78">
            <a:extLst>
              <a:ext uri="{FF2B5EF4-FFF2-40B4-BE49-F238E27FC236}">
                <a16:creationId xmlns:a16="http://schemas.microsoft.com/office/drawing/2014/main" id="{DFA3777B-680A-4A2C-816A-BBC9AFEFB945}"/>
              </a:ext>
            </a:extLst>
          </p:cNvPr>
          <p:cNvSpPr/>
          <p:nvPr/>
        </p:nvSpPr>
        <p:spPr>
          <a:xfrm>
            <a:off x="2096415" y="47706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4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8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4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4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4" h="97789">
                <a:moveTo>
                  <a:pt x="38201" y="0"/>
                </a:moveTo>
                <a:lnTo>
                  <a:pt x="31368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1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6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7" name="object 79">
            <a:extLst>
              <a:ext uri="{FF2B5EF4-FFF2-40B4-BE49-F238E27FC236}">
                <a16:creationId xmlns:a16="http://schemas.microsoft.com/office/drawing/2014/main" id="{591E4377-A186-419B-A4BC-26B74D5E6E48}"/>
              </a:ext>
            </a:extLst>
          </p:cNvPr>
          <p:cNvSpPr/>
          <p:nvPr/>
        </p:nvSpPr>
        <p:spPr>
          <a:xfrm>
            <a:off x="2194343" y="4770654"/>
            <a:ext cx="76200" cy="133985"/>
          </a:xfrm>
          <a:custGeom>
            <a:avLst/>
            <a:gdLst/>
            <a:ahLst/>
            <a:cxnLst/>
            <a:rect l="l" t="t" r="r" b="b"/>
            <a:pathLst>
              <a:path w="76200" h="133985">
                <a:moveTo>
                  <a:pt x="13360" y="118681"/>
                </a:moveTo>
                <a:lnTo>
                  <a:pt x="33947" y="133604"/>
                </a:lnTo>
                <a:lnTo>
                  <a:pt x="38455" y="133604"/>
                </a:lnTo>
                <a:lnTo>
                  <a:pt x="46737" y="132948"/>
                </a:lnTo>
                <a:lnTo>
                  <a:pt x="54055" y="130981"/>
                </a:lnTo>
                <a:lnTo>
                  <a:pt x="60410" y="127699"/>
                </a:lnTo>
                <a:lnTo>
                  <a:pt x="64370" y="124320"/>
                </a:lnTo>
                <a:lnTo>
                  <a:pt x="33705" y="124320"/>
                </a:lnTo>
                <a:lnTo>
                  <a:pt x="29349" y="123825"/>
                </a:lnTo>
                <a:lnTo>
                  <a:pt x="21081" y="121869"/>
                </a:lnTo>
                <a:lnTo>
                  <a:pt x="17132" y="120472"/>
                </a:lnTo>
                <a:lnTo>
                  <a:pt x="13360" y="118681"/>
                </a:lnTo>
                <a:close/>
              </a:path>
              <a:path w="76200" h="133985">
                <a:moveTo>
                  <a:pt x="75615" y="82562"/>
                </a:moveTo>
                <a:lnTo>
                  <a:pt x="65189" y="82562"/>
                </a:lnTo>
                <a:lnTo>
                  <a:pt x="65189" y="103835"/>
                </a:lnTo>
                <a:lnTo>
                  <a:pt x="62941" y="111150"/>
                </a:lnTo>
                <a:lnTo>
                  <a:pt x="53911" y="121691"/>
                </a:lnTo>
                <a:lnTo>
                  <a:pt x="47193" y="124320"/>
                </a:lnTo>
                <a:lnTo>
                  <a:pt x="64370" y="124320"/>
                </a:lnTo>
                <a:lnTo>
                  <a:pt x="75490" y="96202"/>
                </a:lnTo>
                <a:lnTo>
                  <a:pt x="75615" y="82562"/>
                </a:lnTo>
                <a:close/>
              </a:path>
              <a:path w="76200" h="133985">
                <a:moveTo>
                  <a:pt x="42849" y="0"/>
                </a:moveTo>
                <a:lnTo>
                  <a:pt x="36194" y="0"/>
                </a:lnTo>
                <a:lnTo>
                  <a:pt x="28151" y="843"/>
                </a:lnTo>
                <a:lnTo>
                  <a:pt x="2398" y="29241"/>
                </a:lnTo>
                <a:lnTo>
                  <a:pt x="0" y="49479"/>
                </a:lnTo>
                <a:lnTo>
                  <a:pt x="0" y="51308"/>
                </a:lnTo>
                <a:lnTo>
                  <a:pt x="14784" y="90420"/>
                </a:lnTo>
                <a:lnTo>
                  <a:pt x="36029" y="97497"/>
                </a:lnTo>
                <a:lnTo>
                  <a:pt x="42570" y="97497"/>
                </a:lnTo>
                <a:lnTo>
                  <a:pt x="48259" y="96202"/>
                </a:lnTo>
                <a:lnTo>
                  <a:pt x="57988" y="91059"/>
                </a:lnTo>
                <a:lnTo>
                  <a:pt x="60810" y="88468"/>
                </a:lnTo>
                <a:lnTo>
                  <a:pt x="28790" y="88468"/>
                </a:lnTo>
                <a:lnTo>
                  <a:pt x="21920" y="85090"/>
                </a:lnTo>
                <a:lnTo>
                  <a:pt x="10413" y="51308"/>
                </a:lnTo>
                <a:lnTo>
                  <a:pt x="10413" y="49479"/>
                </a:lnTo>
                <a:lnTo>
                  <a:pt x="22059" y="12788"/>
                </a:lnTo>
                <a:lnTo>
                  <a:pt x="28955" y="9029"/>
                </a:lnTo>
                <a:lnTo>
                  <a:pt x="60097" y="9029"/>
                </a:lnTo>
                <a:lnTo>
                  <a:pt x="58407" y="7302"/>
                </a:lnTo>
                <a:lnTo>
                  <a:pt x="48628" y="1460"/>
                </a:lnTo>
                <a:lnTo>
                  <a:pt x="42849" y="0"/>
                </a:lnTo>
                <a:close/>
              </a:path>
              <a:path w="76200" h="133985">
                <a:moveTo>
                  <a:pt x="60097" y="9029"/>
                </a:moveTo>
                <a:lnTo>
                  <a:pt x="45173" y="9029"/>
                </a:lnTo>
                <a:lnTo>
                  <a:pt x="50876" y="10756"/>
                </a:lnTo>
                <a:lnTo>
                  <a:pt x="59550" y="17640"/>
                </a:lnTo>
                <a:lnTo>
                  <a:pt x="62877" y="22110"/>
                </a:lnTo>
                <a:lnTo>
                  <a:pt x="65189" y="27609"/>
                </a:lnTo>
                <a:lnTo>
                  <a:pt x="65189" y="71183"/>
                </a:lnTo>
                <a:lnTo>
                  <a:pt x="62763" y="76568"/>
                </a:lnTo>
                <a:lnTo>
                  <a:pt x="59308" y="80797"/>
                </a:lnTo>
                <a:lnTo>
                  <a:pt x="50342" y="86931"/>
                </a:lnTo>
                <a:lnTo>
                  <a:pt x="44703" y="88468"/>
                </a:lnTo>
                <a:lnTo>
                  <a:pt x="60810" y="88468"/>
                </a:lnTo>
                <a:lnTo>
                  <a:pt x="62014" y="87363"/>
                </a:lnTo>
                <a:lnTo>
                  <a:pt x="65189" y="82562"/>
                </a:lnTo>
                <a:lnTo>
                  <a:pt x="75615" y="82562"/>
                </a:lnTo>
                <a:lnTo>
                  <a:pt x="75615" y="16751"/>
                </a:lnTo>
                <a:lnTo>
                  <a:pt x="65633" y="16751"/>
                </a:lnTo>
                <a:lnTo>
                  <a:pt x="62445" y="11430"/>
                </a:lnTo>
                <a:lnTo>
                  <a:pt x="60097" y="9029"/>
                </a:lnTo>
                <a:close/>
              </a:path>
              <a:path w="76200" h="133985">
                <a:moveTo>
                  <a:pt x="75615" y="1739"/>
                </a:moveTo>
                <a:lnTo>
                  <a:pt x="66840" y="1739"/>
                </a:lnTo>
                <a:lnTo>
                  <a:pt x="65633" y="16751"/>
                </a:lnTo>
                <a:lnTo>
                  <a:pt x="75615" y="16751"/>
                </a:lnTo>
                <a:lnTo>
                  <a:pt x="75615" y="1739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9" name="object 80">
            <a:extLst>
              <a:ext uri="{FF2B5EF4-FFF2-40B4-BE49-F238E27FC236}">
                <a16:creationId xmlns:a16="http://schemas.microsoft.com/office/drawing/2014/main" id="{F4A34077-1F25-4C51-82AC-268CBB4473C6}"/>
              </a:ext>
            </a:extLst>
          </p:cNvPr>
          <p:cNvSpPr/>
          <p:nvPr/>
        </p:nvSpPr>
        <p:spPr>
          <a:xfrm>
            <a:off x="2334030" y="4730890"/>
            <a:ext cx="1302512" cy="17336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1" name="object 81">
            <a:extLst>
              <a:ext uri="{FF2B5EF4-FFF2-40B4-BE49-F238E27FC236}">
                <a16:creationId xmlns:a16="http://schemas.microsoft.com/office/drawing/2014/main" id="{135A2980-8F62-4B17-8B2E-AB6203A0C395}"/>
              </a:ext>
            </a:extLst>
          </p:cNvPr>
          <p:cNvSpPr/>
          <p:nvPr/>
        </p:nvSpPr>
        <p:spPr>
          <a:xfrm>
            <a:off x="3701122" y="4730991"/>
            <a:ext cx="400494" cy="137160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3" name="object 82">
            <a:extLst>
              <a:ext uri="{FF2B5EF4-FFF2-40B4-BE49-F238E27FC236}">
                <a16:creationId xmlns:a16="http://schemas.microsoft.com/office/drawing/2014/main" id="{F9FBBAD9-AAD6-4114-BB91-59273419D818}"/>
              </a:ext>
            </a:extLst>
          </p:cNvPr>
          <p:cNvSpPr/>
          <p:nvPr/>
        </p:nvSpPr>
        <p:spPr>
          <a:xfrm>
            <a:off x="4121847" y="4770654"/>
            <a:ext cx="68402" cy="97497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5" name="object 83">
            <a:extLst>
              <a:ext uri="{FF2B5EF4-FFF2-40B4-BE49-F238E27FC236}">
                <a16:creationId xmlns:a16="http://schemas.microsoft.com/office/drawing/2014/main" id="{4CAFD16A-4C6A-4588-94F8-88DF774A4656}"/>
              </a:ext>
            </a:extLst>
          </p:cNvPr>
          <p:cNvSpPr/>
          <p:nvPr/>
        </p:nvSpPr>
        <p:spPr>
          <a:xfrm>
            <a:off x="4248861" y="4730889"/>
            <a:ext cx="455955" cy="137248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7" name="object 84">
            <a:extLst>
              <a:ext uri="{FF2B5EF4-FFF2-40B4-BE49-F238E27FC236}">
                <a16:creationId xmlns:a16="http://schemas.microsoft.com/office/drawing/2014/main" id="{FA86EC7E-38B1-471E-9A70-35A94FB3B1A3}"/>
              </a:ext>
            </a:extLst>
          </p:cNvPr>
          <p:cNvSpPr/>
          <p:nvPr/>
        </p:nvSpPr>
        <p:spPr>
          <a:xfrm>
            <a:off x="1887535" y="4997589"/>
            <a:ext cx="2046606" cy="171538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9" name="object 85">
            <a:extLst>
              <a:ext uri="{FF2B5EF4-FFF2-40B4-BE49-F238E27FC236}">
                <a16:creationId xmlns:a16="http://schemas.microsoft.com/office/drawing/2014/main" id="{5D08246F-9994-46A5-8F28-D7081EE0CEC7}"/>
              </a:ext>
            </a:extLst>
          </p:cNvPr>
          <p:cNvSpPr/>
          <p:nvPr/>
        </p:nvSpPr>
        <p:spPr>
          <a:xfrm>
            <a:off x="3947604" y="5125961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1" name="object 86">
            <a:extLst>
              <a:ext uri="{FF2B5EF4-FFF2-40B4-BE49-F238E27FC236}">
                <a16:creationId xmlns:a16="http://schemas.microsoft.com/office/drawing/2014/main" id="{6F3D3411-9223-42E0-B914-020D6242C9BD}"/>
              </a:ext>
            </a:extLst>
          </p:cNvPr>
          <p:cNvSpPr/>
          <p:nvPr/>
        </p:nvSpPr>
        <p:spPr>
          <a:xfrm>
            <a:off x="3948240" y="5124691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70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3" name="object 87">
            <a:extLst>
              <a:ext uri="{FF2B5EF4-FFF2-40B4-BE49-F238E27FC236}">
                <a16:creationId xmlns:a16="http://schemas.microsoft.com/office/drawing/2014/main" id="{6B621847-FE6C-4838-9B8D-5379B1863085}"/>
              </a:ext>
            </a:extLst>
          </p:cNvPr>
          <p:cNvSpPr/>
          <p:nvPr/>
        </p:nvSpPr>
        <p:spPr>
          <a:xfrm>
            <a:off x="3966920" y="5006581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5" name="object 88">
            <a:extLst>
              <a:ext uri="{FF2B5EF4-FFF2-40B4-BE49-F238E27FC236}">
                <a16:creationId xmlns:a16="http://schemas.microsoft.com/office/drawing/2014/main" id="{A23A8856-4D60-4041-96FE-BFE237E9DEBD}"/>
              </a:ext>
            </a:extLst>
          </p:cNvPr>
          <p:cNvSpPr/>
          <p:nvPr/>
        </p:nvSpPr>
        <p:spPr>
          <a:xfrm>
            <a:off x="3955552" y="5005311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4" h="1270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7" name="object 89">
            <a:extLst>
              <a:ext uri="{FF2B5EF4-FFF2-40B4-BE49-F238E27FC236}">
                <a16:creationId xmlns:a16="http://schemas.microsoft.com/office/drawing/2014/main" id="{7A4726D5-B522-499B-930F-70C835199429}"/>
              </a:ext>
            </a:extLst>
          </p:cNvPr>
          <p:cNvSpPr/>
          <p:nvPr/>
        </p:nvSpPr>
        <p:spPr>
          <a:xfrm>
            <a:off x="3947604" y="4997691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20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9" name="object 90">
            <a:extLst>
              <a:ext uri="{FF2B5EF4-FFF2-40B4-BE49-F238E27FC236}">
                <a16:creationId xmlns:a16="http://schemas.microsoft.com/office/drawing/2014/main" id="{D2E22BB6-7DAD-45BB-AD99-0DD251857112}"/>
              </a:ext>
            </a:extLst>
          </p:cNvPr>
          <p:cNvSpPr/>
          <p:nvPr/>
        </p:nvSpPr>
        <p:spPr>
          <a:xfrm>
            <a:off x="3998214" y="5039093"/>
            <a:ext cx="94615" cy="132080"/>
          </a:xfrm>
          <a:custGeom>
            <a:avLst/>
            <a:gdLst/>
            <a:ahLst/>
            <a:cxnLst/>
            <a:rect l="l" t="t" r="r" b="b"/>
            <a:pathLst>
              <a:path w="94614" h="132079">
                <a:moveTo>
                  <a:pt x="13538" y="121970"/>
                </a:moveTo>
                <a:lnTo>
                  <a:pt x="12318" y="130657"/>
                </a:lnTo>
                <a:lnTo>
                  <a:pt x="13131" y="130937"/>
                </a:lnTo>
                <a:lnTo>
                  <a:pt x="14401" y="131229"/>
                </a:lnTo>
                <a:lnTo>
                  <a:pt x="16141" y="131470"/>
                </a:lnTo>
                <a:lnTo>
                  <a:pt x="17881" y="131749"/>
                </a:lnTo>
                <a:lnTo>
                  <a:pt x="19354" y="131864"/>
                </a:lnTo>
                <a:lnTo>
                  <a:pt x="28041" y="131864"/>
                </a:lnTo>
                <a:lnTo>
                  <a:pt x="33705" y="129641"/>
                </a:lnTo>
                <a:lnTo>
                  <a:pt x="39851" y="122580"/>
                </a:lnTo>
                <a:lnTo>
                  <a:pt x="19494" y="122580"/>
                </a:lnTo>
                <a:lnTo>
                  <a:pt x="18414" y="122504"/>
                </a:lnTo>
                <a:lnTo>
                  <a:pt x="15354" y="122224"/>
                </a:lnTo>
                <a:lnTo>
                  <a:pt x="14236" y="122085"/>
                </a:lnTo>
                <a:lnTo>
                  <a:pt x="13538" y="121970"/>
                </a:lnTo>
                <a:close/>
              </a:path>
              <a:path w="94614" h="132079">
                <a:moveTo>
                  <a:pt x="32296" y="0"/>
                </a:moveTo>
                <a:lnTo>
                  <a:pt x="0" y="0"/>
                </a:lnTo>
                <a:lnTo>
                  <a:pt x="0" y="7721"/>
                </a:lnTo>
                <a:lnTo>
                  <a:pt x="9550" y="8509"/>
                </a:lnTo>
                <a:lnTo>
                  <a:pt x="42887" y="92798"/>
                </a:lnTo>
                <a:lnTo>
                  <a:pt x="24701" y="122580"/>
                </a:lnTo>
                <a:lnTo>
                  <a:pt x="39851" y="122580"/>
                </a:lnTo>
                <a:lnTo>
                  <a:pt x="41465" y="120726"/>
                </a:lnTo>
                <a:lnTo>
                  <a:pt x="44615" y="115316"/>
                </a:lnTo>
                <a:lnTo>
                  <a:pt x="47053" y="108953"/>
                </a:lnTo>
                <a:lnTo>
                  <a:pt x="58070" y="79781"/>
                </a:lnTo>
                <a:lnTo>
                  <a:pt x="47307" y="79781"/>
                </a:lnTo>
                <a:lnTo>
                  <a:pt x="44005" y="68491"/>
                </a:lnTo>
                <a:lnTo>
                  <a:pt x="21094" y="8585"/>
                </a:lnTo>
                <a:lnTo>
                  <a:pt x="32296" y="7721"/>
                </a:lnTo>
                <a:lnTo>
                  <a:pt x="32296" y="0"/>
                </a:lnTo>
                <a:close/>
              </a:path>
              <a:path w="94614" h="132079">
                <a:moveTo>
                  <a:pt x="94538" y="0"/>
                </a:moveTo>
                <a:lnTo>
                  <a:pt x="62064" y="0"/>
                </a:lnTo>
                <a:lnTo>
                  <a:pt x="62064" y="7721"/>
                </a:lnTo>
                <a:lnTo>
                  <a:pt x="73532" y="8585"/>
                </a:lnTo>
                <a:lnTo>
                  <a:pt x="47828" y="79781"/>
                </a:lnTo>
                <a:lnTo>
                  <a:pt x="58070" y="79781"/>
                </a:lnTo>
                <a:lnTo>
                  <a:pt x="84988" y="8509"/>
                </a:lnTo>
                <a:lnTo>
                  <a:pt x="94538" y="7721"/>
                </a:lnTo>
                <a:lnTo>
                  <a:pt x="94538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1" name="object 91">
            <a:extLst>
              <a:ext uri="{FF2B5EF4-FFF2-40B4-BE49-F238E27FC236}">
                <a16:creationId xmlns:a16="http://schemas.microsoft.com/office/drawing/2014/main" id="{0BBF6710-461D-4D90-80FC-163EC4B6D7E5}"/>
              </a:ext>
            </a:extLst>
          </p:cNvPr>
          <p:cNvSpPr/>
          <p:nvPr/>
        </p:nvSpPr>
        <p:spPr>
          <a:xfrm>
            <a:off x="4146320" y="4995761"/>
            <a:ext cx="54610" cy="137795"/>
          </a:xfrm>
          <a:custGeom>
            <a:avLst/>
            <a:gdLst/>
            <a:ahLst/>
            <a:cxnLst/>
            <a:rect l="l" t="t" r="r" b="b"/>
            <a:pathLst>
              <a:path w="54610" h="137795">
                <a:moveTo>
                  <a:pt x="25958" y="51828"/>
                </a:moveTo>
                <a:lnTo>
                  <a:pt x="15544" y="51828"/>
                </a:lnTo>
                <a:lnTo>
                  <a:pt x="15544" y="128485"/>
                </a:lnTo>
                <a:lnTo>
                  <a:pt x="1384" y="129616"/>
                </a:lnTo>
                <a:lnTo>
                  <a:pt x="1384" y="137261"/>
                </a:lnTo>
                <a:lnTo>
                  <a:pt x="40106" y="137261"/>
                </a:lnTo>
                <a:lnTo>
                  <a:pt x="40106" y="129616"/>
                </a:lnTo>
                <a:lnTo>
                  <a:pt x="25958" y="128485"/>
                </a:lnTo>
                <a:lnTo>
                  <a:pt x="25958" y="51828"/>
                </a:lnTo>
                <a:close/>
              </a:path>
              <a:path w="54610" h="137795">
                <a:moveTo>
                  <a:pt x="48361" y="43319"/>
                </a:moveTo>
                <a:lnTo>
                  <a:pt x="0" y="43319"/>
                </a:lnTo>
                <a:lnTo>
                  <a:pt x="0" y="51828"/>
                </a:lnTo>
                <a:lnTo>
                  <a:pt x="48361" y="51828"/>
                </a:lnTo>
                <a:lnTo>
                  <a:pt x="48361" y="43319"/>
                </a:lnTo>
                <a:close/>
              </a:path>
              <a:path w="54610" h="137795">
                <a:moveTo>
                  <a:pt x="44399" y="0"/>
                </a:moveTo>
                <a:lnTo>
                  <a:pt x="34036" y="0"/>
                </a:lnTo>
                <a:lnTo>
                  <a:pt x="27406" y="2578"/>
                </a:lnTo>
                <a:lnTo>
                  <a:pt x="17919" y="12877"/>
                </a:lnTo>
                <a:lnTo>
                  <a:pt x="15544" y="20167"/>
                </a:lnTo>
                <a:lnTo>
                  <a:pt x="15544" y="43319"/>
                </a:lnTo>
                <a:lnTo>
                  <a:pt x="25958" y="43319"/>
                </a:lnTo>
                <a:lnTo>
                  <a:pt x="25958" y="23114"/>
                </a:lnTo>
                <a:lnTo>
                  <a:pt x="27482" y="18084"/>
                </a:lnTo>
                <a:lnTo>
                  <a:pt x="33553" y="10909"/>
                </a:lnTo>
                <a:lnTo>
                  <a:pt x="37909" y="9118"/>
                </a:lnTo>
                <a:lnTo>
                  <a:pt x="53129" y="9118"/>
                </a:lnTo>
                <a:lnTo>
                  <a:pt x="54254" y="1651"/>
                </a:lnTo>
                <a:lnTo>
                  <a:pt x="52235" y="1130"/>
                </a:lnTo>
                <a:lnTo>
                  <a:pt x="50241" y="723"/>
                </a:lnTo>
                <a:lnTo>
                  <a:pt x="46304" y="152"/>
                </a:lnTo>
                <a:lnTo>
                  <a:pt x="44399" y="0"/>
                </a:lnTo>
                <a:close/>
              </a:path>
              <a:path w="54610" h="137795">
                <a:moveTo>
                  <a:pt x="53129" y="9118"/>
                </a:moveTo>
                <a:lnTo>
                  <a:pt x="45542" y="9118"/>
                </a:lnTo>
                <a:lnTo>
                  <a:pt x="47256" y="9220"/>
                </a:lnTo>
                <a:lnTo>
                  <a:pt x="50152" y="9626"/>
                </a:lnTo>
                <a:lnTo>
                  <a:pt x="51574" y="9893"/>
                </a:lnTo>
                <a:lnTo>
                  <a:pt x="52959" y="10248"/>
                </a:lnTo>
                <a:lnTo>
                  <a:pt x="53129" y="9118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3" name="object 92">
            <a:extLst>
              <a:ext uri="{FF2B5EF4-FFF2-40B4-BE49-F238E27FC236}">
                <a16:creationId xmlns:a16="http://schemas.microsoft.com/office/drawing/2014/main" id="{0386D62B-EE19-45F4-88D8-84CCFB2B5DEF}"/>
              </a:ext>
            </a:extLst>
          </p:cNvPr>
          <p:cNvSpPr/>
          <p:nvPr/>
        </p:nvSpPr>
        <p:spPr>
          <a:xfrm>
            <a:off x="4209097" y="5037353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89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4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89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89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5" name="object 93">
            <a:extLst>
              <a:ext uri="{FF2B5EF4-FFF2-40B4-BE49-F238E27FC236}">
                <a16:creationId xmlns:a16="http://schemas.microsoft.com/office/drawing/2014/main" id="{E867CAFE-3F05-440D-950B-155C63195479}"/>
              </a:ext>
            </a:extLst>
          </p:cNvPr>
          <p:cNvSpPr/>
          <p:nvPr/>
        </p:nvSpPr>
        <p:spPr>
          <a:xfrm>
            <a:off x="4302073" y="5037354"/>
            <a:ext cx="160020" cy="95885"/>
          </a:xfrm>
          <a:custGeom>
            <a:avLst/>
            <a:gdLst/>
            <a:ahLst/>
            <a:cxnLst/>
            <a:rect l="l" t="t" r="r" b="b"/>
            <a:pathLst>
              <a:path w="160020" h="95885">
                <a:moveTo>
                  <a:pt x="23355" y="1739"/>
                </a:moveTo>
                <a:lnTo>
                  <a:pt x="0" y="1739"/>
                </a:lnTo>
                <a:lnTo>
                  <a:pt x="0" y="9461"/>
                </a:lnTo>
                <a:lnTo>
                  <a:pt x="14147" y="10591"/>
                </a:lnTo>
                <a:lnTo>
                  <a:pt x="14147" y="86906"/>
                </a:lnTo>
                <a:lnTo>
                  <a:pt x="0" y="88036"/>
                </a:lnTo>
                <a:lnTo>
                  <a:pt x="0" y="95669"/>
                </a:lnTo>
                <a:lnTo>
                  <a:pt x="38722" y="95669"/>
                </a:lnTo>
                <a:lnTo>
                  <a:pt x="38722" y="88036"/>
                </a:lnTo>
                <a:lnTo>
                  <a:pt x="24574" y="86906"/>
                </a:lnTo>
                <a:lnTo>
                  <a:pt x="24664" y="29362"/>
                </a:lnTo>
                <a:lnTo>
                  <a:pt x="26301" y="23380"/>
                </a:lnTo>
                <a:lnTo>
                  <a:pt x="29337" y="18364"/>
                </a:lnTo>
                <a:lnTo>
                  <a:pt x="30596" y="17272"/>
                </a:lnTo>
                <a:lnTo>
                  <a:pt x="24307" y="17272"/>
                </a:lnTo>
                <a:lnTo>
                  <a:pt x="23355" y="1739"/>
                </a:lnTo>
                <a:close/>
              </a:path>
              <a:path w="160020" h="95885">
                <a:moveTo>
                  <a:pt x="77307" y="9029"/>
                </a:moveTo>
                <a:lnTo>
                  <a:pt x="58458" y="9029"/>
                </a:lnTo>
                <a:lnTo>
                  <a:pt x="64147" y="11468"/>
                </a:lnTo>
                <a:lnTo>
                  <a:pt x="72418" y="21272"/>
                </a:lnTo>
                <a:lnTo>
                  <a:pt x="74430" y="29146"/>
                </a:lnTo>
                <a:lnTo>
                  <a:pt x="74485" y="86906"/>
                </a:lnTo>
                <a:lnTo>
                  <a:pt x="60337" y="88036"/>
                </a:lnTo>
                <a:lnTo>
                  <a:pt x="60337" y="95669"/>
                </a:lnTo>
                <a:lnTo>
                  <a:pt x="99060" y="95669"/>
                </a:lnTo>
                <a:lnTo>
                  <a:pt x="99060" y="88036"/>
                </a:lnTo>
                <a:lnTo>
                  <a:pt x="84912" y="86906"/>
                </a:lnTo>
                <a:lnTo>
                  <a:pt x="84823" y="36461"/>
                </a:lnTo>
                <a:lnTo>
                  <a:pt x="85864" y="28473"/>
                </a:lnTo>
                <a:lnTo>
                  <a:pt x="88569" y="21894"/>
                </a:lnTo>
                <a:lnTo>
                  <a:pt x="89098" y="21272"/>
                </a:lnTo>
                <a:lnTo>
                  <a:pt x="82651" y="21272"/>
                </a:lnTo>
                <a:lnTo>
                  <a:pt x="80568" y="14084"/>
                </a:lnTo>
                <a:lnTo>
                  <a:pt x="77307" y="9029"/>
                </a:lnTo>
                <a:close/>
              </a:path>
              <a:path w="160020" h="95885">
                <a:moveTo>
                  <a:pt x="136340" y="9029"/>
                </a:moveTo>
                <a:lnTo>
                  <a:pt x="118935" y="9029"/>
                </a:lnTo>
                <a:lnTo>
                  <a:pt x="124625" y="11417"/>
                </a:lnTo>
                <a:lnTo>
                  <a:pt x="132791" y="20967"/>
                </a:lnTo>
                <a:lnTo>
                  <a:pt x="134823" y="29146"/>
                </a:lnTo>
                <a:lnTo>
                  <a:pt x="134823" y="86817"/>
                </a:lnTo>
                <a:lnTo>
                  <a:pt x="120675" y="88036"/>
                </a:lnTo>
                <a:lnTo>
                  <a:pt x="120675" y="95669"/>
                </a:lnTo>
                <a:lnTo>
                  <a:pt x="159486" y="95669"/>
                </a:lnTo>
                <a:lnTo>
                  <a:pt x="159486" y="88036"/>
                </a:lnTo>
                <a:lnTo>
                  <a:pt x="145326" y="86817"/>
                </a:lnTo>
                <a:lnTo>
                  <a:pt x="145211" y="38696"/>
                </a:lnTo>
                <a:lnTo>
                  <a:pt x="144813" y="31111"/>
                </a:lnTo>
                <a:lnTo>
                  <a:pt x="143276" y="22699"/>
                </a:lnTo>
                <a:lnTo>
                  <a:pt x="140713" y="15656"/>
                </a:lnTo>
                <a:lnTo>
                  <a:pt x="137121" y="9982"/>
                </a:lnTo>
                <a:lnTo>
                  <a:pt x="136340" y="9029"/>
                </a:lnTo>
                <a:close/>
              </a:path>
              <a:path w="160020" h="95885">
                <a:moveTo>
                  <a:pt x="123913" y="0"/>
                </a:moveTo>
                <a:lnTo>
                  <a:pt x="106375" y="0"/>
                </a:lnTo>
                <a:lnTo>
                  <a:pt x="99999" y="1892"/>
                </a:lnTo>
                <a:lnTo>
                  <a:pt x="89522" y="9474"/>
                </a:lnTo>
                <a:lnTo>
                  <a:pt x="85483" y="14668"/>
                </a:lnTo>
                <a:lnTo>
                  <a:pt x="82651" y="21272"/>
                </a:lnTo>
                <a:lnTo>
                  <a:pt x="89109" y="21259"/>
                </a:lnTo>
                <a:lnTo>
                  <a:pt x="97307" y="11607"/>
                </a:lnTo>
                <a:lnTo>
                  <a:pt x="103543" y="9029"/>
                </a:lnTo>
                <a:lnTo>
                  <a:pt x="136340" y="9029"/>
                </a:lnTo>
                <a:lnTo>
                  <a:pt x="131660" y="3327"/>
                </a:lnTo>
                <a:lnTo>
                  <a:pt x="123913" y="0"/>
                </a:lnTo>
                <a:close/>
              </a:path>
              <a:path w="160020" h="95885">
                <a:moveTo>
                  <a:pt x="61518" y="0"/>
                </a:moveTo>
                <a:lnTo>
                  <a:pt x="47396" y="0"/>
                </a:lnTo>
                <a:lnTo>
                  <a:pt x="41414" y="1498"/>
                </a:lnTo>
                <a:lnTo>
                  <a:pt x="31343" y="7531"/>
                </a:lnTo>
                <a:lnTo>
                  <a:pt x="27317" y="11785"/>
                </a:lnTo>
                <a:lnTo>
                  <a:pt x="24307" y="17272"/>
                </a:lnTo>
                <a:lnTo>
                  <a:pt x="30596" y="17272"/>
                </a:lnTo>
                <a:lnTo>
                  <a:pt x="37947" y="10896"/>
                </a:lnTo>
                <a:lnTo>
                  <a:pt x="43815" y="9029"/>
                </a:lnTo>
                <a:lnTo>
                  <a:pt x="77307" y="9029"/>
                </a:lnTo>
                <a:lnTo>
                  <a:pt x="77127" y="8750"/>
                </a:lnTo>
                <a:lnTo>
                  <a:pt x="67513" y="1752"/>
                </a:lnTo>
                <a:lnTo>
                  <a:pt x="61518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7" name="object 94">
            <a:extLst>
              <a:ext uri="{FF2B5EF4-FFF2-40B4-BE49-F238E27FC236}">
                <a16:creationId xmlns:a16="http://schemas.microsoft.com/office/drawing/2014/main" id="{B268248E-3D56-4BD4-8614-847C5CF2F91A}"/>
              </a:ext>
            </a:extLst>
          </p:cNvPr>
          <p:cNvSpPr/>
          <p:nvPr/>
        </p:nvSpPr>
        <p:spPr>
          <a:xfrm>
            <a:off x="4475010" y="50373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5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9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5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5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5" h="97789">
                <a:moveTo>
                  <a:pt x="38201" y="0"/>
                </a:moveTo>
                <a:lnTo>
                  <a:pt x="31369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2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7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9" name="object 95">
            <a:extLst>
              <a:ext uri="{FF2B5EF4-FFF2-40B4-BE49-F238E27FC236}">
                <a16:creationId xmlns:a16="http://schemas.microsoft.com/office/drawing/2014/main" id="{C30FC8A5-59E0-4233-A558-7DD7D161CF8C}"/>
              </a:ext>
            </a:extLst>
          </p:cNvPr>
          <p:cNvSpPr/>
          <p:nvPr/>
        </p:nvSpPr>
        <p:spPr>
          <a:xfrm>
            <a:off x="4570425" y="5125961"/>
            <a:ext cx="38735" cy="7620"/>
          </a:xfrm>
          <a:custGeom>
            <a:avLst/>
            <a:gdLst/>
            <a:ahLst/>
            <a:cxnLst/>
            <a:rect l="l" t="t" r="r" b="b"/>
            <a:pathLst>
              <a:path w="38735" h="7620">
                <a:moveTo>
                  <a:pt x="0" y="7620"/>
                </a:moveTo>
                <a:lnTo>
                  <a:pt x="38633" y="7620"/>
                </a:lnTo>
                <a:lnTo>
                  <a:pt x="38633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1" name="object 96">
            <a:extLst>
              <a:ext uri="{FF2B5EF4-FFF2-40B4-BE49-F238E27FC236}">
                <a16:creationId xmlns:a16="http://schemas.microsoft.com/office/drawing/2014/main" id="{63C3BFE6-9CEF-4A0A-B271-1B098E76A99A}"/>
              </a:ext>
            </a:extLst>
          </p:cNvPr>
          <p:cNvSpPr/>
          <p:nvPr/>
        </p:nvSpPr>
        <p:spPr>
          <a:xfrm>
            <a:off x="4571061" y="5124691"/>
            <a:ext cx="37465" cy="1270"/>
          </a:xfrm>
          <a:custGeom>
            <a:avLst/>
            <a:gdLst/>
            <a:ahLst/>
            <a:cxnLst/>
            <a:rect l="l" t="t" r="r" b="b"/>
            <a:pathLst>
              <a:path w="37464" h="1270">
                <a:moveTo>
                  <a:pt x="0" y="1270"/>
                </a:moveTo>
                <a:lnTo>
                  <a:pt x="37361" y="1270"/>
                </a:lnTo>
                <a:lnTo>
                  <a:pt x="37361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3" name="object 97">
            <a:extLst>
              <a:ext uri="{FF2B5EF4-FFF2-40B4-BE49-F238E27FC236}">
                <a16:creationId xmlns:a16="http://schemas.microsoft.com/office/drawing/2014/main" id="{93354084-8B4A-49F6-83B6-45025DD11DD0}"/>
              </a:ext>
            </a:extLst>
          </p:cNvPr>
          <p:cNvSpPr/>
          <p:nvPr/>
        </p:nvSpPr>
        <p:spPr>
          <a:xfrm>
            <a:off x="4589741" y="5006581"/>
            <a:ext cx="0" cy="118110"/>
          </a:xfrm>
          <a:custGeom>
            <a:avLst/>
            <a:gdLst/>
            <a:ahLst/>
            <a:cxnLst/>
            <a:rect l="l" t="t" r="r" b="b"/>
            <a:pathLst>
              <a:path h="118110">
                <a:moveTo>
                  <a:pt x="0" y="0"/>
                </a:moveTo>
                <a:lnTo>
                  <a:pt x="0" y="118109"/>
                </a:lnTo>
              </a:path>
            </a:pathLst>
          </a:custGeom>
          <a:ln w="10337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5" name="object 98">
            <a:extLst>
              <a:ext uri="{FF2B5EF4-FFF2-40B4-BE49-F238E27FC236}">
                <a16:creationId xmlns:a16="http://schemas.microsoft.com/office/drawing/2014/main" id="{AECEFF29-4B4F-4812-BA2C-48255022E536}"/>
              </a:ext>
            </a:extLst>
          </p:cNvPr>
          <p:cNvSpPr/>
          <p:nvPr/>
        </p:nvSpPr>
        <p:spPr>
          <a:xfrm>
            <a:off x="4578373" y="5005311"/>
            <a:ext cx="17145" cy="1270"/>
          </a:xfrm>
          <a:custGeom>
            <a:avLst/>
            <a:gdLst/>
            <a:ahLst/>
            <a:cxnLst/>
            <a:rect l="l" t="t" r="r" b="b"/>
            <a:pathLst>
              <a:path w="17145" h="1270">
                <a:moveTo>
                  <a:pt x="0" y="1270"/>
                </a:moveTo>
                <a:lnTo>
                  <a:pt x="16537" y="1270"/>
                </a:lnTo>
                <a:lnTo>
                  <a:pt x="16537" y="0"/>
                </a:lnTo>
                <a:lnTo>
                  <a:pt x="0" y="0"/>
                </a:lnTo>
                <a:lnTo>
                  <a:pt x="0" y="127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7" name="object 99">
            <a:extLst>
              <a:ext uri="{FF2B5EF4-FFF2-40B4-BE49-F238E27FC236}">
                <a16:creationId xmlns:a16="http://schemas.microsoft.com/office/drawing/2014/main" id="{E3BD25B4-36E7-4A52-9CFA-95D631072186}"/>
              </a:ext>
            </a:extLst>
          </p:cNvPr>
          <p:cNvSpPr/>
          <p:nvPr/>
        </p:nvSpPr>
        <p:spPr>
          <a:xfrm>
            <a:off x="4570425" y="4997691"/>
            <a:ext cx="24765" cy="7620"/>
          </a:xfrm>
          <a:custGeom>
            <a:avLst/>
            <a:gdLst/>
            <a:ahLst/>
            <a:cxnLst/>
            <a:rect l="l" t="t" r="r" b="b"/>
            <a:pathLst>
              <a:path w="24764" h="7620">
                <a:moveTo>
                  <a:pt x="0" y="7620"/>
                </a:moveTo>
                <a:lnTo>
                  <a:pt x="24485" y="7620"/>
                </a:lnTo>
                <a:lnTo>
                  <a:pt x="24485" y="0"/>
                </a:lnTo>
                <a:lnTo>
                  <a:pt x="0" y="0"/>
                </a:lnTo>
                <a:lnTo>
                  <a:pt x="0" y="762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9" name="object 100">
            <a:extLst>
              <a:ext uri="{FF2B5EF4-FFF2-40B4-BE49-F238E27FC236}">
                <a16:creationId xmlns:a16="http://schemas.microsoft.com/office/drawing/2014/main" id="{211DE7EB-91F1-44CF-85A6-EADD15603019}"/>
              </a:ext>
            </a:extLst>
          </p:cNvPr>
          <p:cNvSpPr/>
          <p:nvPr/>
        </p:nvSpPr>
        <p:spPr>
          <a:xfrm>
            <a:off x="4625899" y="5037353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89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4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89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89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1" name="object 101">
            <a:extLst>
              <a:ext uri="{FF2B5EF4-FFF2-40B4-BE49-F238E27FC236}">
                <a16:creationId xmlns:a16="http://schemas.microsoft.com/office/drawing/2014/main" id="{D3A39926-A0DE-41AF-A66C-A24B2FA8FBF1}"/>
              </a:ext>
            </a:extLst>
          </p:cNvPr>
          <p:cNvSpPr/>
          <p:nvPr/>
        </p:nvSpPr>
        <p:spPr>
          <a:xfrm>
            <a:off x="3958539" y="5304053"/>
            <a:ext cx="83185" cy="97790"/>
          </a:xfrm>
          <a:custGeom>
            <a:avLst/>
            <a:gdLst/>
            <a:ahLst/>
            <a:cxnLst/>
            <a:rect l="l" t="t" r="r" b="b"/>
            <a:pathLst>
              <a:path w="83185" h="97789">
                <a:moveTo>
                  <a:pt x="64335" y="8851"/>
                </a:moveTo>
                <a:lnTo>
                  <a:pt x="45516" y="8851"/>
                </a:lnTo>
                <a:lnTo>
                  <a:pt x="51549" y="10769"/>
                </a:lnTo>
                <a:lnTo>
                  <a:pt x="60172" y="18402"/>
                </a:lnTo>
                <a:lnTo>
                  <a:pt x="62331" y="23672"/>
                </a:lnTo>
                <a:lnTo>
                  <a:pt x="62331" y="42798"/>
                </a:lnTo>
                <a:lnTo>
                  <a:pt x="41579" y="42798"/>
                </a:lnTo>
                <a:lnTo>
                  <a:pt x="32486" y="43275"/>
                </a:lnTo>
                <a:lnTo>
                  <a:pt x="0" y="62420"/>
                </a:lnTo>
                <a:lnTo>
                  <a:pt x="0" y="79197"/>
                </a:lnTo>
                <a:lnTo>
                  <a:pt x="2514" y="85623"/>
                </a:lnTo>
                <a:lnTo>
                  <a:pt x="12585" y="95122"/>
                </a:lnTo>
                <a:lnTo>
                  <a:pt x="19710" y="97497"/>
                </a:lnTo>
                <a:lnTo>
                  <a:pt x="36144" y="97497"/>
                </a:lnTo>
                <a:lnTo>
                  <a:pt x="42659" y="95872"/>
                </a:lnTo>
                <a:lnTo>
                  <a:pt x="54229" y="89395"/>
                </a:lnTo>
                <a:lnTo>
                  <a:pt x="55485" y="88290"/>
                </a:lnTo>
                <a:lnTo>
                  <a:pt x="23901" y="88290"/>
                </a:lnTo>
                <a:lnTo>
                  <a:pt x="19088" y="86740"/>
                </a:lnTo>
                <a:lnTo>
                  <a:pt x="12077" y="80556"/>
                </a:lnTo>
                <a:lnTo>
                  <a:pt x="10325" y="76479"/>
                </a:lnTo>
                <a:lnTo>
                  <a:pt x="10325" y="65481"/>
                </a:lnTo>
                <a:lnTo>
                  <a:pt x="13144" y="60553"/>
                </a:lnTo>
                <a:lnTo>
                  <a:pt x="24434" y="52743"/>
                </a:lnTo>
                <a:lnTo>
                  <a:pt x="31978" y="50787"/>
                </a:lnTo>
                <a:lnTo>
                  <a:pt x="72656" y="50787"/>
                </a:lnTo>
                <a:lnTo>
                  <a:pt x="72656" y="20726"/>
                </a:lnTo>
                <a:lnTo>
                  <a:pt x="69507" y="13169"/>
                </a:lnTo>
                <a:lnTo>
                  <a:pt x="64335" y="8851"/>
                </a:lnTo>
                <a:close/>
              </a:path>
              <a:path w="83185" h="97789">
                <a:moveTo>
                  <a:pt x="72704" y="80390"/>
                </a:moveTo>
                <a:lnTo>
                  <a:pt x="62331" y="80390"/>
                </a:lnTo>
                <a:lnTo>
                  <a:pt x="62407" y="84023"/>
                </a:lnTo>
                <a:lnTo>
                  <a:pt x="62471" y="85102"/>
                </a:lnTo>
                <a:lnTo>
                  <a:pt x="63055" y="89738"/>
                </a:lnTo>
                <a:lnTo>
                  <a:pt x="63550" y="92481"/>
                </a:lnTo>
                <a:lnTo>
                  <a:pt x="64236" y="95669"/>
                </a:lnTo>
                <a:lnTo>
                  <a:pt x="82727" y="95669"/>
                </a:lnTo>
                <a:lnTo>
                  <a:pt x="82727" y="88023"/>
                </a:lnTo>
                <a:lnTo>
                  <a:pt x="73355" y="87426"/>
                </a:lnTo>
                <a:lnTo>
                  <a:pt x="73063" y="85750"/>
                </a:lnTo>
                <a:lnTo>
                  <a:pt x="72885" y="84023"/>
                </a:lnTo>
                <a:lnTo>
                  <a:pt x="72704" y="80390"/>
                </a:lnTo>
                <a:close/>
              </a:path>
              <a:path w="83185" h="97789">
                <a:moveTo>
                  <a:pt x="72656" y="50787"/>
                </a:moveTo>
                <a:lnTo>
                  <a:pt x="62331" y="50787"/>
                </a:lnTo>
                <a:lnTo>
                  <a:pt x="62331" y="69621"/>
                </a:lnTo>
                <a:lnTo>
                  <a:pt x="59778" y="75120"/>
                </a:lnTo>
                <a:lnTo>
                  <a:pt x="55651" y="79603"/>
                </a:lnTo>
                <a:lnTo>
                  <a:pt x="44183" y="86550"/>
                </a:lnTo>
                <a:lnTo>
                  <a:pt x="37553" y="88290"/>
                </a:lnTo>
                <a:lnTo>
                  <a:pt x="55485" y="88290"/>
                </a:lnTo>
                <a:lnTo>
                  <a:pt x="58864" y="85318"/>
                </a:lnTo>
                <a:lnTo>
                  <a:pt x="62331" y="80390"/>
                </a:lnTo>
                <a:lnTo>
                  <a:pt x="72704" y="80390"/>
                </a:lnTo>
                <a:lnTo>
                  <a:pt x="72656" y="50787"/>
                </a:lnTo>
                <a:close/>
              </a:path>
              <a:path w="83185" h="97789">
                <a:moveTo>
                  <a:pt x="38201" y="0"/>
                </a:moveTo>
                <a:lnTo>
                  <a:pt x="31369" y="0"/>
                </a:lnTo>
                <a:lnTo>
                  <a:pt x="24930" y="1041"/>
                </a:lnTo>
                <a:lnTo>
                  <a:pt x="12839" y="5206"/>
                </a:lnTo>
                <a:lnTo>
                  <a:pt x="7632" y="7924"/>
                </a:lnTo>
                <a:lnTo>
                  <a:pt x="3302" y="11290"/>
                </a:lnTo>
                <a:lnTo>
                  <a:pt x="3213" y="29336"/>
                </a:lnTo>
                <a:lnTo>
                  <a:pt x="11798" y="29336"/>
                </a:lnTo>
                <a:lnTo>
                  <a:pt x="12674" y="16751"/>
                </a:lnTo>
                <a:lnTo>
                  <a:pt x="15570" y="14325"/>
                </a:lnTo>
                <a:lnTo>
                  <a:pt x="19177" y="12395"/>
                </a:lnTo>
                <a:lnTo>
                  <a:pt x="27787" y="9563"/>
                </a:lnTo>
                <a:lnTo>
                  <a:pt x="32550" y="8851"/>
                </a:lnTo>
                <a:lnTo>
                  <a:pt x="64335" y="8851"/>
                </a:lnTo>
                <a:lnTo>
                  <a:pt x="63195" y="7899"/>
                </a:lnTo>
                <a:lnTo>
                  <a:pt x="58088" y="4441"/>
                </a:lnTo>
                <a:lnTo>
                  <a:pt x="52217" y="1973"/>
                </a:lnTo>
                <a:lnTo>
                  <a:pt x="45587" y="493"/>
                </a:lnTo>
                <a:lnTo>
                  <a:pt x="38201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3" name="object 102">
            <a:extLst>
              <a:ext uri="{FF2B5EF4-FFF2-40B4-BE49-F238E27FC236}">
                <a16:creationId xmlns:a16="http://schemas.microsoft.com/office/drawing/2014/main" id="{94184F4E-5F30-41D8-81C7-9EB839739BFA}"/>
              </a:ext>
            </a:extLst>
          </p:cNvPr>
          <p:cNvSpPr/>
          <p:nvPr/>
        </p:nvSpPr>
        <p:spPr>
          <a:xfrm>
            <a:off x="4051603" y="5305781"/>
            <a:ext cx="96520" cy="95885"/>
          </a:xfrm>
          <a:custGeom>
            <a:avLst/>
            <a:gdLst/>
            <a:ahLst/>
            <a:cxnLst/>
            <a:rect l="l" t="t" r="r" b="b"/>
            <a:pathLst>
              <a:path w="96520" h="95885">
                <a:moveTo>
                  <a:pt x="21958" y="0"/>
                </a:moveTo>
                <a:lnTo>
                  <a:pt x="0" y="0"/>
                </a:lnTo>
                <a:lnTo>
                  <a:pt x="0" y="7734"/>
                </a:lnTo>
                <a:lnTo>
                  <a:pt x="11633" y="8864"/>
                </a:lnTo>
                <a:lnTo>
                  <a:pt x="11633" y="54432"/>
                </a:lnTo>
                <a:lnTo>
                  <a:pt x="25590" y="92405"/>
                </a:lnTo>
                <a:lnTo>
                  <a:pt x="33337" y="95758"/>
                </a:lnTo>
                <a:lnTo>
                  <a:pt x="50177" y="95758"/>
                </a:lnTo>
                <a:lnTo>
                  <a:pt x="56210" y="94259"/>
                </a:lnTo>
                <a:lnTo>
                  <a:pt x="66459" y="88239"/>
                </a:lnTo>
                <a:lnTo>
                  <a:pt x="67893" y="86728"/>
                </a:lnTo>
                <a:lnTo>
                  <a:pt x="37274" y="86728"/>
                </a:lnTo>
                <a:lnTo>
                  <a:pt x="31724" y="84239"/>
                </a:lnTo>
                <a:lnTo>
                  <a:pt x="23914" y="74295"/>
                </a:lnTo>
                <a:lnTo>
                  <a:pt x="21958" y="66065"/>
                </a:lnTo>
                <a:lnTo>
                  <a:pt x="21958" y="0"/>
                </a:lnTo>
                <a:close/>
              </a:path>
              <a:path w="96520" h="95885">
                <a:moveTo>
                  <a:pt x="83515" y="78486"/>
                </a:moveTo>
                <a:lnTo>
                  <a:pt x="73444" y="78486"/>
                </a:lnTo>
                <a:lnTo>
                  <a:pt x="74396" y="93941"/>
                </a:lnTo>
                <a:lnTo>
                  <a:pt x="96100" y="93941"/>
                </a:lnTo>
                <a:lnTo>
                  <a:pt x="96100" y="86296"/>
                </a:lnTo>
                <a:lnTo>
                  <a:pt x="83515" y="85166"/>
                </a:lnTo>
                <a:lnTo>
                  <a:pt x="83515" y="78486"/>
                </a:lnTo>
                <a:close/>
              </a:path>
              <a:path w="96520" h="95885">
                <a:moveTo>
                  <a:pt x="83515" y="0"/>
                </a:moveTo>
                <a:lnTo>
                  <a:pt x="59728" y="0"/>
                </a:lnTo>
                <a:lnTo>
                  <a:pt x="59728" y="7734"/>
                </a:lnTo>
                <a:lnTo>
                  <a:pt x="73101" y="8864"/>
                </a:lnTo>
                <a:lnTo>
                  <a:pt x="73101" y="67106"/>
                </a:lnTo>
                <a:lnTo>
                  <a:pt x="71183" y="73253"/>
                </a:lnTo>
                <a:lnTo>
                  <a:pt x="67894" y="78054"/>
                </a:lnTo>
                <a:lnTo>
                  <a:pt x="58585" y="85001"/>
                </a:lnTo>
                <a:lnTo>
                  <a:pt x="52311" y="86728"/>
                </a:lnTo>
                <a:lnTo>
                  <a:pt x="67893" y="86728"/>
                </a:lnTo>
                <a:lnTo>
                  <a:pt x="70497" y="83985"/>
                </a:lnTo>
                <a:lnTo>
                  <a:pt x="73444" y="78486"/>
                </a:lnTo>
                <a:lnTo>
                  <a:pt x="83515" y="78486"/>
                </a:lnTo>
                <a:lnTo>
                  <a:pt x="83515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5" name="object 103">
            <a:extLst>
              <a:ext uri="{FF2B5EF4-FFF2-40B4-BE49-F238E27FC236}">
                <a16:creationId xmlns:a16="http://schemas.microsoft.com/office/drawing/2014/main" id="{2D2ACD69-0171-4D9F-8F1A-65BF7DF67873}"/>
              </a:ext>
            </a:extLst>
          </p:cNvPr>
          <p:cNvSpPr/>
          <p:nvPr/>
        </p:nvSpPr>
        <p:spPr>
          <a:xfrm>
            <a:off x="4162995" y="5264290"/>
            <a:ext cx="90170" cy="137795"/>
          </a:xfrm>
          <a:custGeom>
            <a:avLst/>
            <a:gdLst/>
            <a:ahLst/>
            <a:cxnLst/>
            <a:rect l="l" t="t" r="r" b="b"/>
            <a:pathLst>
              <a:path w="90170" h="137795">
                <a:moveTo>
                  <a:pt x="42570" y="39763"/>
                </a:moveTo>
                <a:lnTo>
                  <a:pt x="36029" y="39763"/>
                </a:lnTo>
                <a:lnTo>
                  <a:pt x="27991" y="40606"/>
                </a:lnTo>
                <a:lnTo>
                  <a:pt x="2373" y="69005"/>
                </a:lnTo>
                <a:lnTo>
                  <a:pt x="0" y="89242"/>
                </a:lnTo>
                <a:lnTo>
                  <a:pt x="0" y="91071"/>
                </a:lnTo>
                <a:lnTo>
                  <a:pt x="14711" y="130183"/>
                </a:lnTo>
                <a:lnTo>
                  <a:pt x="35852" y="137261"/>
                </a:lnTo>
                <a:lnTo>
                  <a:pt x="42506" y="137261"/>
                </a:lnTo>
                <a:lnTo>
                  <a:pt x="48298" y="135928"/>
                </a:lnTo>
                <a:lnTo>
                  <a:pt x="58127" y="130594"/>
                </a:lnTo>
                <a:lnTo>
                  <a:pt x="60640" y="128231"/>
                </a:lnTo>
                <a:lnTo>
                  <a:pt x="28701" y="128231"/>
                </a:lnTo>
                <a:lnTo>
                  <a:pt x="21869" y="124866"/>
                </a:lnTo>
                <a:lnTo>
                  <a:pt x="10502" y="91071"/>
                </a:lnTo>
                <a:lnTo>
                  <a:pt x="10502" y="89242"/>
                </a:lnTo>
                <a:lnTo>
                  <a:pt x="22009" y="52539"/>
                </a:lnTo>
                <a:lnTo>
                  <a:pt x="28879" y="48793"/>
                </a:lnTo>
                <a:lnTo>
                  <a:pt x="60042" y="48793"/>
                </a:lnTo>
                <a:lnTo>
                  <a:pt x="57848" y="46634"/>
                </a:lnTo>
                <a:lnTo>
                  <a:pt x="48234" y="41135"/>
                </a:lnTo>
                <a:lnTo>
                  <a:pt x="42570" y="39763"/>
                </a:lnTo>
                <a:close/>
              </a:path>
              <a:path w="90170" h="137795">
                <a:moveTo>
                  <a:pt x="75437" y="121894"/>
                </a:moveTo>
                <a:lnTo>
                  <a:pt x="65277" y="121894"/>
                </a:lnTo>
                <a:lnTo>
                  <a:pt x="66154" y="135432"/>
                </a:lnTo>
                <a:lnTo>
                  <a:pt x="89598" y="135432"/>
                </a:lnTo>
                <a:lnTo>
                  <a:pt x="89598" y="127800"/>
                </a:lnTo>
                <a:lnTo>
                  <a:pt x="75437" y="126669"/>
                </a:lnTo>
                <a:lnTo>
                  <a:pt x="75437" y="121894"/>
                </a:lnTo>
                <a:close/>
              </a:path>
              <a:path w="90170" h="137795">
                <a:moveTo>
                  <a:pt x="60042" y="48793"/>
                </a:moveTo>
                <a:lnTo>
                  <a:pt x="44970" y="48793"/>
                </a:lnTo>
                <a:lnTo>
                  <a:pt x="50622" y="50469"/>
                </a:lnTo>
                <a:lnTo>
                  <a:pt x="59372" y="57188"/>
                </a:lnTo>
                <a:lnTo>
                  <a:pt x="62712" y="61531"/>
                </a:lnTo>
                <a:lnTo>
                  <a:pt x="65023" y="66852"/>
                </a:lnTo>
                <a:lnTo>
                  <a:pt x="65023" y="111302"/>
                </a:lnTo>
                <a:lnTo>
                  <a:pt x="62534" y="116573"/>
                </a:lnTo>
                <a:lnTo>
                  <a:pt x="59042" y="120700"/>
                </a:lnTo>
                <a:lnTo>
                  <a:pt x="50076" y="126733"/>
                </a:lnTo>
                <a:lnTo>
                  <a:pt x="44500" y="128231"/>
                </a:lnTo>
                <a:lnTo>
                  <a:pt x="60640" y="128231"/>
                </a:lnTo>
                <a:lnTo>
                  <a:pt x="62153" y="126809"/>
                </a:lnTo>
                <a:lnTo>
                  <a:pt x="65277" y="121894"/>
                </a:lnTo>
                <a:lnTo>
                  <a:pt x="75437" y="121894"/>
                </a:lnTo>
                <a:lnTo>
                  <a:pt x="75437" y="55651"/>
                </a:lnTo>
                <a:lnTo>
                  <a:pt x="65023" y="55651"/>
                </a:lnTo>
                <a:lnTo>
                  <a:pt x="61836" y="50558"/>
                </a:lnTo>
                <a:lnTo>
                  <a:pt x="60042" y="48793"/>
                </a:lnTo>
                <a:close/>
              </a:path>
              <a:path w="90170" h="137795">
                <a:moveTo>
                  <a:pt x="75437" y="0"/>
                </a:moveTo>
                <a:lnTo>
                  <a:pt x="50876" y="0"/>
                </a:lnTo>
                <a:lnTo>
                  <a:pt x="50876" y="7734"/>
                </a:lnTo>
                <a:lnTo>
                  <a:pt x="65023" y="8851"/>
                </a:lnTo>
                <a:lnTo>
                  <a:pt x="65023" y="55651"/>
                </a:lnTo>
                <a:lnTo>
                  <a:pt x="75437" y="55651"/>
                </a:lnTo>
                <a:lnTo>
                  <a:pt x="75437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7" name="object 104">
            <a:extLst>
              <a:ext uri="{FF2B5EF4-FFF2-40B4-BE49-F238E27FC236}">
                <a16:creationId xmlns:a16="http://schemas.microsoft.com/office/drawing/2014/main" id="{107882D5-2E17-4BBF-9D1A-3C6E6572D6D0}"/>
              </a:ext>
            </a:extLst>
          </p:cNvPr>
          <p:cNvSpPr/>
          <p:nvPr/>
        </p:nvSpPr>
        <p:spPr>
          <a:xfrm>
            <a:off x="4267860" y="5264289"/>
            <a:ext cx="38735" cy="135890"/>
          </a:xfrm>
          <a:custGeom>
            <a:avLst/>
            <a:gdLst/>
            <a:ahLst/>
            <a:cxnLst/>
            <a:rect l="l" t="t" r="r" b="b"/>
            <a:pathLst>
              <a:path w="38735" h="135889">
                <a:moveTo>
                  <a:pt x="24485" y="0"/>
                </a:moveTo>
                <a:lnTo>
                  <a:pt x="14160" y="0"/>
                </a:lnTo>
                <a:lnTo>
                  <a:pt x="14160" y="14579"/>
                </a:lnTo>
                <a:lnTo>
                  <a:pt x="24485" y="14579"/>
                </a:lnTo>
                <a:lnTo>
                  <a:pt x="24485" y="0"/>
                </a:lnTo>
                <a:close/>
              </a:path>
              <a:path w="38735" h="135889">
                <a:moveTo>
                  <a:pt x="24485" y="41490"/>
                </a:moveTo>
                <a:lnTo>
                  <a:pt x="0" y="41490"/>
                </a:lnTo>
                <a:lnTo>
                  <a:pt x="0" y="49225"/>
                </a:lnTo>
                <a:lnTo>
                  <a:pt x="14160" y="50355"/>
                </a:lnTo>
                <a:lnTo>
                  <a:pt x="14160" y="126657"/>
                </a:lnTo>
                <a:lnTo>
                  <a:pt x="0" y="127787"/>
                </a:lnTo>
                <a:lnTo>
                  <a:pt x="0" y="135432"/>
                </a:lnTo>
                <a:lnTo>
                  <a:pt x="38633" y="135432"/>
                </a:lnTo>
                <a:lnTo>
                  <a:pt x="38633" y="127787"/>
                </a:lnTo>
                <a:lnTo>
                  <a:pt x="24485" y="126657"/>
                </a:lnTo>
                <a:lnTo>
                  <a:pt x="24485" y="414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9" name="object 105">
            <a:extLst>
              <a:ext uri="{FF2B5EF4-FFF2-40B4-BE49-F238E27FC236}">
                <a16:creationId xmlns:a16="http://schemas.microsoft.com/office/drawing/2014/main" id="{F3AF0C2F-539A-4B2B-88F8-AD352326E291}"/>
              </a:ext>
            </a:extLst>
          </p:cNvPr>
          <p:cNvSpPr/>
          <p:nvPr/>
        </p:nvSpPr>
        <p:spPr>
          <a:xfrm>
            <a:off x="4324388" y="5304053"/>
            <a:ext cx="76835" cy="97790"/>
          </a:xfrm>
          <a:custGeom>
            <a:avLst/>
            <a:gdLst/>
            <a:ahLst/>
            <a:cxnLst/>
            <a:rect l="l" t="t" r="r" b="b"/>
            <a:pathLst>
              <a:path w="76835" h="97789">
                <a:moveTo>
                  <a:pt x="39585" y="0"/>
                </a:moveTo>
                <a:lnTo>
                  <a:pt x="6515" y="20351"/>
                </a:lnTo>
                <a:lnTo>
                  <a:pt x="0" y="46697"/>
                </a:lnTo>
                <a:lnTo>
                  <a:pt x="0" y="51473"/>
                </a:lnTo>
                <a:lnTo>
                  <a:pt x="17831" y="90193"/>
                </a:lnTo>
                <a:lnTo>
                  <a:pt x="40970" y="97485"/>
                </a:lnTo>
                <a:lnTo>
                  <a:pt x="48437" y="97485"/>
                </a:lnTo>
                <a:lnTo>
                  <a:pt x="54864" y="96405"/>
                </a:lnTo>
                <a:lnTo>
                  <a:pt x="65633" y="92062"/>
                </a:lnTo>
                <a:lnTo>
                  <a:pt x="70091" y="89128"/>
                </a:lnTo>
                <a:lnTo>
                  <a:pt x="70478" y="88722"/>
                </a:lnTo>
                <a:lnTo>
                  <a:pt x="31826" y="88722"/>
                </a:lnTo>
                <a:lnTo>
                  <a:pt x="24434" y="85153"/>
                </a:lnTo>
                <a:lnTo>
                  <a:pt x="10325" y="51473"/>
                </a:lnTo>
                <a:lnTo>
                  <a:pt x="10325" y="48958"/>
                </a:lnTo>
                <a:lnTo>
                  <a:pt x="76657" y="48958"/>
                </a:lnTo>
                <a:lnTo>
                  <a:pt x="76657" y="40195"/>
                </a:lnTo>
                <a:lnTo>
                  <a:pt x="11277" y="40195"/>
                </a:lnTo>
                <a:lnTo>
                  <a:pt x="11112" y="39763"/>
                </a:lnTo>
                <a:lnTo>
                  <a:pt x="11976" y="30899"/>
                </a:lnTo>
                <a:lnTo>
                  <a:pt x="15024" y="23533"/>
                </a:lnTo>
                <a:lnTo>
                  <a:pt x="25514" y="11785"/>
                </a:lnTo>
                <a:lnTo>
                  <a:pt x="31940" y="8851"/>
                </a:lnTo>
                <a:lnTo>
                  <a:pt x="64407" y="8851"/>
                </a:lnTo>
                <a:lnTo>
                  <a:pt x="61351" y="6150"/>
                </a:lnTo>
                <a:lnTo>
                  <a:pt x="55017" y="2733"/>
                </a:lnTo>
                <a:lnTo>
                  <a:pt x="47763" y="683"/>
                </a:lnTo>
                <a:lnTo>
                  <a:pt x="39585" y="0"/>
                </a:lnTo>
                <a:close/>
              </a:path>
              <a:path w="76835" h="97789">
                <a:moveTo>
                  <a:pt x="69189" y="78308"/>
                </a:moveTo>
                <a:lnTo>
                  <a:pt x="65951" y="81661"/>
                </a:lnTo>
                <a:lnTo>
                  <a:pt x="62039" y="84239"/>
                </a:lnTo>
                <a:lnTo>
                  <a:pt x="52895" y="87833"/>
                </a:lnTo>
                <a:lnTo>
                  <a:pt x="47396" y="88722"/>
                </a:lnTo>
                <a:lnTo>
                  <a:pt x="70478" y="88722"/>
                </a:lnTo>
                <a:lnTo>
                  <a:pt x="73621" y="85420"/>
                </a:lnTo>
                <a:lnTo>
                  <a:pt x="69189" y="78308"/>
                </a:lnTo>
                <a:close/>
              </a:path>
              <a:path w="76835" h="97789">
                <a:moveTo>
                  <a:pt x="64407" y="8851"/>
                </a:moveTo>
                <a:lnTo>
                  <a:pt x="47802" y="8851"/>
                </a:lnTo>
                <a:lnTo>
                  <a:pt x="54317" y="11607"/>
                </a:lnTo>
                <a:lnTo>
                  <a:pt x="63931" y="22593"/>
                </a:lnTo>
                <a:lnTo>
                  <a:pt x="66319" y="29425"/>
                </a:lnTo>
                <a:lnTo>
                  <a:pt x="66319" y="40195"/>
                </a:lnTo>
                <a:lnTo>
                  <a:pt x="76657" y="40195"/>
                </a:lnTo>
                <a:lnTo>
                  <a:pt x="76038" y="31446"/>
                </a:lnTo>
                <a:lnTo>
                  <a:pt x="74182" y="23696"/>
                </a:lnTo>
                <a:lnTo>
                  <a:pt x="71090" y="16859"/>
                </a:lnTo>
                <a:lnTo>
                  <a:pt x="66763" y="10934"/>
                </a:lnTo>
                <a:lnTo>
                  <a:pt x="64407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1" name="object 106">
            <a:extLst>
              <a:ext uri="{FF2B5EF4-FFF2-40B4-BE49-F238E27FC236}">
                <a16:creationId xmlns:a16="http://schemas.microsoft.com/office/drawing/2014/main" id="{1D0C956A-45AA-4B78-A646-4EA0E9F288EC}"/>
              </a:ext>
            </a:extLst>
          </p:cNvPr>
          <p:cNvSpPr/>
          <p:nvPr/>
        </p:nvSpPr>
        <p:spPr>
          <a:xfrm>
            <a:off x="4417706" y="5304041"/>
            <a:ext cx="100330" cy="95885"/>
          </a:xfrm>
          <a:custGeom>
            <a:avLst/>
            <a:gdLst/>
            <a:ahLst/>
            <a:cxnLst/>
            <a:rect l="l" t="t" r="r" b="b"/>
            <a:pathLst>
              <a:path w="100329" h="95885">
                <a:moveTo>
                  <a:pt x="23355" y="1739"/>
                </a:moveTo>
                <a:lnTo>
                  <a:pt x="0" y="1739"/>
                </a:lnTo>
                <a:lnTo>
                  <a:pt x="0" y="9461"/>
                </a:lnTo>
                <a:lnTo>
                  <a:pt x="14147" y="10591"/>
                </a:lnTo>
                <a:lnTo>
                  <a:pt x="14147" y="86906"/>
                </a:lnTo>
                <a:lnTo>
                  <a:pt x="0" y="88036"/>
                </a:lnTo>
                <a:lnTo>
                  <a:pt x="0" y="95681"/>
                </a:lnTo>
                <a:lnTo>
                  <a:pt x="38722" y="95681"/>
                </a:lnTo>
                <a:lnTo>
                  <a:pt x="38722" y="88036"/>
                </a:lnTo>
                <a:lnTo>
                  <a:pt x="24574" y="86906"/>
                </a:lnTo>
                <a:lnTo>
                  <a:pt x="24574" y="30124"/>
                </a:lnTo>
                <a:lnTo>
                  <a:pt x="26593" y="23761"/>
                </a:lnTo>
                <a:lnTo>
                  <a:pt x="29908" y="18656"/>
                </a:lnTo>
                <a:lnTo>
                  <a:pt x="30513" y="18148"/>
                </a:lnTo>
                <a:lnTo>
                  <a:pt x="24307" y="18148"/>
                </a:lnTo>
                <a:lnTo>
                  <a:pt x="23355" y="1739"/>
                </a:lnTo>
                <a:close/>
              </a:path>
              <a:path w="100329" h="95885">
                <a:moveTo>
                  <a:pt x="77693" y="9029"/>
                </a:moveTo>
                <a:lnTo>
                  <a:pt x="59766" y="9029"/>
                </a:lnTo>
                <a:lnTo>
                  <a:pt x="65468" y="11264"/>
                </a:lnTo>
                <a:lnTo>
                  <a:pt x="73520" y="20167"/>
                </a:lnTo>
                <a:lnTo>
                  <a:pt x="75526" y="27787"/>
                </a:lnTo>
                <a:lnTo>
                  <a:pt x="75526" y="86906"/>
                </a:lnTo>
                <a:lnTo>
                  <a:pt x="61379" y="88036"/>
                </a:lnTo>
                <a:lnTo>
                  <a:pt x="61379" y="95681"/>
                </a:lnTo>
                <a:lnTo>
                  <a:pt x="100101" y="95681"/>
                </a:lnTo>
                <a:lnTo>
                  <a:pt x="100101" y="88036"/>
                </a:lnTo>
                <a:lnTo>
                  <a:pt x="85953" y="86906"/>
                </a:lnTo>
                <a:lnTo>
                  <a:pt x="85953" y="38468"/>
                </a:lnTo>
                <a:lnTo>
                  <a:pt x="85453" y="29224"/>
                </a:lnTo>
                <a:lnTo>
                  <a:pt x="83954" y="21288"/>
                </a:lnTo>
                <a:lnTo>
                  <a:pt x="81458" y="14661"/>
                </a:lnTo>
                <a:lnTo>
                  <a:pt x="77965" y="9347"/>
                </a:lnTo>
                <a:lnTo>
                  <a:pt x="77693" y="9029"/>
                </a:lnTo>
                <a:close/>
              </a:path>
              <a:path w="100329" h="95885">
                <a:moveTo>
                  <a:pt x="64884" y="0"/>
                </a:moveTo>
                <a:lnTo>
                  <a:pt x="47688" y="0"/>
                </a:lnTo>
                <a:lnTo>
                  <a:pt x="41630" y="1574"/>
                </a:lnTo>
                <a:lnTo>
                  <a:pt x="31381" y="7886"/>
                </a:lnTo>
                <a:lnTo>
                  <a:pt x="27317" y="12357"/>
                </a:lnTo>
                <a:lnTo>
                  <a:pt x="24307" y="18148"/>
                </a:lnTo>
                <a:lnTo>
                  <a:pt x="30513" y="18148"/>
                </a:lnTo>
                <a:lnTo>
                  <a:pt x="39116" y="10960"/>
                </a:lnTo>
                <a:lnTo>
                  <a:pt x="45059" y="9029"/>
                </a:lnTo>
                <a:lnTo>
                  <a:pt x="77693" y="9029"/>
                </a:lnTo>
                <a:lnTo>
                  <a:pt x="72631" y="3111"/>
                </a:lnTo>
                <a:lnTo>
                  <a:pt x="6488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3" name="object 107">
            <a:extLst>
              <a:ext uri="{FF2B5EF4-FFF2-40B4-BE49-F238E27FC236}">
                <a16:creationId xmlns:a16="http://schemas.microsoft.com/office/drawing/2014/main" id="{C2ABEA62-FC76-490B-90FA-E7E59BD8DCDC}"/>
              </a:ext>
            </a:extLst>
          </p:cNvPr>
          <p:cNvSpPr/>
          <p:nvPr/>
        </p:nvSpPr>
        <p:spPr>
          <a:xfrm>
            <a:off x="4533264" y="5304053"/>
            <a:ext cx="76200" cy="97790"/>
          </a:xfrm>
          <a:custGeom>
            <a:avLst/>
            <a:gdLst/>
            <a:ahLst/>
            <a:cxnLst/>
            <a:rect l="l" t="t" r="r" b="b"/>
            <a:pathLst>
              <a:path w="76200" h="97789">
                <a:moveTo>
                  <a:pt x="47256" y="0"/>
                </a:moveTo>
                <a:lnTo>
                  <a:pt x="40017" y="0"/>
                </a:lnTo>
                <a:lnTo>
                  <a:pt x="31042" y="824"/>
                </a:lnTo>
                <a:lnTo>
                  <a:pt x="2627" y="28211"/>
                </a:lnTo>
                <a:lnTo>
                  <a:pt x="0" y="46875"/>
                </a:lnTo>
                <a:lnTo>
                  <a:pt x="0" y="50520"/>
                </a:lnTo>
                <a:lnTo>
                  <a:pt x="16291" y="90091"/>
                </a:lnTo>
                <a:lnTo>
                  <a:pt x="40106" y="97485"/>
                </a:lnTo>
                <a:lnTo>
                  <a:pt x="47050" y="96937"/>
                </a:lnTo>
                <a:lnTo>
                  <a:pt x="53554" y="95294"/>
                </a:lnTo>
                <a:lnTo>
                  <a:pt x="59617" y="92556"/>
                </a:lnTo>
                <a:lnTo>
                  <a:pt x="65239" y="88722"/>
                </a:lnTo>
                <a:lnTo>
                  <a:pt x="29921" y="88722"/>
                </a:lnTo>
                <a:lnTo>
                  <a:pt x="22428" y="85140"/>
                </a:lnTo>
                <a:lnTo>
                  <a:pt x="10414" y="50520"/>
                </a:lnTo>
                <a:lnTo>
                  <a:pt x="10414" y="46875"/>
                </a:lnTo>
                <a:lnTo>
                  <a:pt x="29946" y="8851"/>
                </a:lnTo>
                <a:lnTo>
                  <a:pt x="68631" y="8851"/>
                </a:lnTo>
                <a:lnTo>
                  <a:pt x="65925" y="6794"/>
                </a:lnTo>
                <a:lnTo>
                  <a:pt x="53873" y="1358"/>
                </a:lnTo>
                <a:lnTo>
                  <a:pt x="47256" y="0"/>
                </a:lnTo>
                <a:close/>
              </a:path>
              <a:path w="76200" h="97789">
                <a:moveTo>
                  <a:pt x="75438" y="66408"/>
                </a:moveTo>
                <a:lnTo>
                  <a:pt x="66243" y="66408"/>
                </a:lnTo>
                <a:lnTo>
                  <a:pt x="66243" y="73418"/>
                </a:lnTo>
                <a:lnTo>
                  <a:pt x="63601" y="78892"/>
                </a:lnTo>
                <a:lnTo>
                  <a:pt x="53073" y="86753"/>
                </a:lnTo>
                <a:lnTo>
                  <a:pt x="46990" y="88722"/>
                </a:lnTo>
                <a:lnTo>
                  <a:pt x="65239" y="88722"/>
                </a:lnTo>
                <a:lnTo>
                  <a:pt x="72440" y="82880"/>
                </a:lnTo>
                <a:lnTo>
                  <a:pt x="75907" y="75615"/>
                </a:lnTo>
                <a:lnTo>
                  <a:pt x="75615" y="66928"/>
                </a:lnTo>
                <a:lnTo>
                  <a:pt x="75438" y="66408"/>
                </a:lnTo>
                <a:close/>
              </a:path>
              <a:path w="76200" h="97789">
                <a:moveTo>
                  <a:pt x="68631" y="8851"/>
                </a:moveTo>
                <a:lnTo>
                  <a:pt x="45288" y="8851"/>
                </a:lnTo>
                <a:lnTo>
                  <a:pt x="49987" y="9753"/>
                </a:lnTo>
                <a:lnTo>
                  <a:pt x="58267" y="13398"/>
                </a:lnTo>
                <a:lnTo>
                  <a:pt x="61722" y="15887"/>
                </a:lnTo>
                <a:lnTo>
                  <a:pt x="64503" y="19011"/>
                </a:lnTo>
                <a:lnTo>
                  <a:pt x="66154" y="35674"/>
                </a:lnTo>
                <a:lnTo>
                  <a:pt x="75006" y="35674"/>
                </a:lnTo>
                <a:lnTo>
                  <a:pt x="74574" y="15189"/>
                </a:lnTo>
                <a:lnTo>
                  <a:pt x="70802" y="10502"/>
                </a:lnTo>
                <a:lnTo>
                  <a:pt x="68631" y="8851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5" name="object 108">
            <a:extLst>
              <a:ext uri="{FF2B5EF4-FFF2-40B4-BE49-F238E27FC236}">
                <a16:creationId xmlns:a16="http://schemas.microsoft.com/office/drawing/2014/main" id="{8A2BA540-E0A2-46B9-A1F8-9CD2FA77BEA1}"/>
              </a:ext>
            </a:extLst>
          </p:cNvPr>
          <p:cNvSpPr/>
          <p:nvPr/>
        </p:nvSpPr>
        <p:spPr>
          <a:xfrm>
            <a:off x="4628680" y="5304054"/>
            <a:ext cx="76657" cy="97485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7" name="object 109">
            <a:extLst>
              <a:ext uri="{FF2B5EF4-FFF2-40B4-BE49-F238E27FC236}">
                <a16:creationId xmlns:a16="http://schemas.microsoft.com/office/drawing/2014/main" id="{870F2E1F-A782-410B-8C8A-A082A2746635}"/>
              </a:ext>
            </a:extLst>
          </p:cNvPr>
          <p:cNvSpPr/>
          <p:nvPr/>
        </p:nvSpPr>
        <p:spPr>
          <a:xfrm>
            <a:off x="4728070" y="5385485"/>
            <a:ext cx="12065" cy="14604"/>
          </a:xfrm>
          <a:custGeom>
            <a:avLst/>
            <a:gdLst/>
            <a:ahLst/>
            <a:cxnLst/>
            <a:rect l="l" t="t" r="r" b="b"/>
            <a:pathLst>
              <a:path w="12064" h="14604">
                <a:moveTo>
                  <a:pt x="11899" y="14236"/>
                </a:moveTo>
                <a:lnTo>
                  <a:pt x="0" y="14236"/>
                </a:lnTo>
                <a:lnTo>
                  <a:pt x="0" y="0"/>
                </a:lnTo>
                <a:lnTo>
                  <a:pt x="11899" y="0"/>
                </a:lnTo>
                <a:lnTo>
                  <a:pt x="11899" y="14236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9" name="object 180">
            <a:extLst>
              <a:ext uri="{FF2B5EF4-FFF2-40B4-BE49-F238E27FC236}">
                <a16:creationId xmlns:a16="http://schemas.microsoft.com/office/drawing/2014/main" id="{C8080296-F8A1-46D1-AE67-28C19EFA3881}"/>
              </a:ext>
            </a:extLst>
          </p:cNvPr>
          <p:cNvSpPr/>
          <p:nvPr/>
        </p:nvSpPr>
        <p:spPr>
          <a:xfrm>
            <a:off x="5006008" y="996557"/>
            <a:ext cx="2655482" cy="4801665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21359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>
            <a:extLst>
              <a:ext uri="{FF2B5EF4-FFF2-40B4-BE49-F238E27FC236}">
                <a16:creationId xmlns:a16="http://schemas.microsoft.com/office/drawing/2014/main" id="{EC0FFB55-6AAD-4C9F-A67F-2D2CF79B6B85}"/>
              </a:ext>
            </a:extLst>
          </p:cNvPr>
          <p:cNvSpPr/>
          <p:nvPr/>
        </p:nvSpPr>
        <p:spPr>
          <a:xfrm>
            <a:off x="1450428" y="1313793"/>
            <a:ext cx="6526924" cy="397291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AutoShape 2" descr="   Facebook Ads Manager- screenshot  "/>
          <p:cNvSpPr>
            <a:spLocks noChangeAspect="1" noChangeArrowheads="1"/>
          </p:cNvSpPr>
          <p:nvPr/>
        </p:nvSpPr>
        <p:spPr bwMode="auto">
          <a:xfrm>
            <a:off x="536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AutoShape 4" descr="   Facebook Ads Manager- screenshot  "/>
          <p:cNvSpPr>
            <a:spLocks noChangeAspect="1" noChangeArrowheads="1"/>
          </p:cNvSpPr>
          <p:nvPr/>
        </p:nvSpPr>
        <p:spPr bwMode="auto">
          <a:xfrm>
            <a:off x="688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8" name="object 5">
            <a:extLst>
              <a:ext uri="{FF2B5EF4-FFF2-40B4-BE49-F238E27FC236}">
                <a16:creationId xmlns:a16="http://schemas.microsoft.com/office/drawing/2014/main" id="{E66F8BA2-1717-4F53-A7F1-5D0DE23696B9}"/>
              </a:ext>
            </a:extLst>
          </p:cNvPr>
          <p:cNvSpPr/>
          <p:nvPr/>
        </p:nvSpPr>
        <p:spPr>
          <a:xfrm>
            <a:off x="3209171" y="2144852"/>
            <a:ext cx="166090" cy="2166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0" name="object 6">
            <a:extLst>
              <a:ext uri="{FF2B5EF4-FFF2-40B4-BE49-F238E27FC236}">
                <a16:creationId xmlns:a16="http://schemas.microsoft.com/office/drawing/2014/main" id="{CFEF1C05-F32D-44F4-9A15-0B15716E814E}"/>
              </a:ext>
            </a:extLst>
          </p:cNvPr>
          <p:cNvSpPr/>
          <p:nvPr/>
        </p:nvSpPr>
        <p:spPr>
          <a:xfrm>
            <a:off x="3462181" y="2144839"/>
            <a:ext cx="220345" cy="220345"/>
          </a:xfrm>
          <a:custGeom>
            <a:avLst/>
            <a:gdLst/>
            <a:ahLst/>
            <a:cxnLst/>
            <a:rect l="l" t="t" r="r" b="b"/>
            <a:pathLst>
              <a:path w="220344" h="220344">
                <a:moveTo>
                  <a:pt x="89738" y="0"/>
                </a:moveTo>
                <a:lnTo>
                  <a:pt x="0" y="0"/>
                </a:lnTo>
                <a:lnTo>
                  <a:pt x="0" y="26200"/>
                </a:lnTo>
                <a:lnTo>
                  <a:pt x="23063" y="30657"/>
                </a:lnTo>
                <a:lnTo>
                  <a:pt x="23063" y="143764"/>
                </a:lnTo>
                <a:lnTo>
                  <a:pt x="36500" y="189085"/>
                </a:lnTo>
                <a:lnTo>
                  <a:pt x="74575" y="214872"/>
                </a:lnTo>
                <a:lnTo>
                  <a:pt x="109677" y="219824"/>
                </a:lnTo>
                <a:lnTo>
                  <a:pt x="128239" y="218586"/>
                </a:lnTo>
                <a:lnTo>
                  <a:pt x="172707" y="200025"/>
                </a:lnTo>
                <a:lnTo>
                  <a:pt x="184724" y="186486"/>
                </a:lnTo>
                <a:lnTo>
                  <a:pt x="109677" y="186486"/>
                </a:lnTo>
                <a:lnTo>
                  <a:pt x="100171" y="185820"/>
                </a:lnTo>
                <a:lnTo>
                  <a:pt x="69407" y="162499"/>
                </a:lnTo>
                <a:lnTo>
                  <a:pt x="66522" y="143764"/>
                </a:lnTo>
                <a:lnTo>
                  <a:pt x="66522" y="30657"/>
                </a:lnTo>
                <a:lnTo>
                  <a:pt x="89738" y="26200"/>
                </a:lnTo>
                <a:lnTo>
                  <a:pt x="89738" y="0"/>
                </a:lnTo>
                <a:close/>
              </a:path>
              <a:path w="220344" h="220344">
                <a:moveTo>
                  <a:pt x="219964" y="0"/>
                </a:moveTo>
                <a:lnTo>
                  <a:pt x="130225" y="0"/>
                </a:lnTo>
                <a:lnTo>
                  <a:pt x="130225" y="26200"/>
                </a:lnTo>
                <a:lnTo>
                  <a:pt x="153289" y="30657"/>
                </a:lnTo>
                <a:lnTo>
                  <a:pt x="153289" y="143764"/>
                </a:lnTo>
                <a:lnTo>
                  <a:pt x="135325" y="180539"/>
                </a:lnTo>
                <a:lnTo>
                  <a:pt x="109677" y="186486"/>
                </a:lnTo>
                <a:lnTo>
                  <a:pt x="184724" y="186486"/>
                </a:lnTo>
                <a:lnTo>
                  <a:pt x="190738" y="176061"/>
                </a:lnTo>
                <a:lnTo>
                  <a:pt x="195245" y="160954"/>
                </a:lnTo>
                <a:lnTo>
                  <a:pt x="196748" y="143764"/>
                </a:lnTo>
                <a:lnTo>
                  <a:pt x="196748" y="30657"/>
                </a:lnTo>
                <a:lnTo>
                  <a:pt x="219964" y="26200"/>
                </a:lnTo>
                <a:lnTo>
                  <a:pt x="2199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7">
            <a:extLst>
              <a:ext uri="{FF2B5EF4-FFF2-40B4-BE49-F238E27FC236}">
                <a16:creationId xmlns:a16="http://schemas.microsoft.com/office/drawing/2014/main" id="{7E8E395E-3F87-47B3-8154-2BCA205359E6}"/>
              </a:ext>
            </a:extLst>
          </p:cNvPr>
          <p:cNvSpPr/>
          <p:nvPr/>
        </p:nvSpPr>
        <p:spPr>
          <a:xfrm>
            <a:off x="3701048" y="2197824"/>
            <a:ext cx="132715" cy="167005"/>
          </a:xfrm>
          <a:custGeom>
            <a:avLst/>
            <a:gdLst/>
            <a:ahLst/>
            <a:cxnLst/>
            <a:rect l="l" t="t" r="r" b="b"/>
            <a:pathLst>
              <a:path w="132715" h="167005">
                <a:moveTo>
                  <a:pt x="32588" y="109677"/>
                </a:moveTo>
                <a:lnTo>
                  <a:pt x="2235" y="109677"/>
                </a:lnTo>
                <a:lnTo>
                  <a:pt x="2679" y="145846"/>
                </a:lnTo>
                <a:lnTo>
                  <a:pt x="38252" y="163778"/>
                </a:lnTo>
                <a:lnTo>
                  <a:pt x="64439" y="166827"/>
                </a:lnTo>
                <a:lnTo>
                  <a:pt x="78958" y="165967"/>
                </a:lnTo>
                <a:lnTo>
                  <a:pt x="121801" y="145683"/>
                </a:lnTo>
                <a:lnTo>
                  <a:pt x="127728" y="137071"/>
                </a:lnTo>
                <a:lnTo>
                  <a:pt x="58242" y="137071"/>
                </a:lnTo>
                <a:lnTo>
                  <a:pt x="53581" y="136550"/>
                </a:lnTo>
                <a:lnTo>
                  <a:pt x="44640" y="134467"/>
                </a:lnTo>
                <a:lnTo>
                  <a:pt x="41122" y="132854"/>
                </a:lnTo>
                <a:lnTo>
                  <a:pt x="38544" y="130670"/>
                </a:lnTo>
                <a:lnTo>
                  <a:pt x="32588" y="109677"/>
                </a:lnTo>
                <a:close/>
              </a:path>
              <a:path w="132715" h="167005">
                <a:moveTo>
                  <a:pt x="64147" y="0"/>
                </a:moveTo>
                <a:lnTo>
                  <a:pt x="25880" y="8240"/>
                </a:lnTo>
                <a:lnTo>
                  <a:pt x="1040" y="39787"/>
                </a:lnTo>
                <a:lnTo>
                  <a:pt x="0" y="49555"/>
                </a:lnTo>
                <a:lnTo>
                  <a:pt x="907" y="58860"/>
                </a:lnTo>
                <a:lnTo>
                  <a:pt x="32496" y="90574"/>
                </a:lnTo>
                <a:lnTo>
                  <a:pt x="66086" y="99860"/>
                </a:lnTo>
                <a:lnTo>
                  <a:pt x="73258" y="102092"/>
                </a:lnTo>
                <a:lnTo>
                  <a:pt x="78960" y="104470"/>
                </a:lnTo>
                <a:lnTo>
                  <a:pt x="83197" y="106997"/>
                </a:lnTo>
                <a:lnTo>
                  <a:pt x="87858" y="110477"/>
                </a:lnTo>
                <a:lnTo>
                  <a:pt x="90182" y="114592"/>
                </a:lnTo>
                <a:lnTo>
                  <a:pt x="90182" y="124815"/>
                </a:lnTo>
                <a:lnTo>
                  <a:pt x="87883" y="129133"/>
                </a:lnTo>
                <a:lnTo>
                  <a:pt x="78651" y="135483"/>
                </a:lnTo>
                <a:lnTo>
                  <a:pt x="71932" y="137071"/>
                </a:lnTo>
                <a:lnTo>
                  <a:pt x="127728" y="137071"/>
                </a:lnTo>
                <a:lnTo>
                  <a:pt x="131141" y="127934"/>
                </a:lnTo>
                <a:lnTo>
                  <a:pt x="132308" y="117563"/>
                </a:lnTo>
                <a:lnTo>
                  <a:pt x="131406" y="107991"/>
                </a:lnTo>
                <a:lnTo>
                  <a:pt x="99561" y="75657"/>
                </a:lnTo>
                <a:lnTo>
                  <a:pt x="64719" y="66379"/>
                </a:lnTo>
                <a:lnTo>
                  <a:pt x="57518" y="64309"/>
                </a:lnTo>
                <a:lnTo>
                  <a:pt x="51917" y="62101"/>
                </a:lnTo>
                <a:lnTo>
                  <a:pt x="47917" y="59753"/>
                </a:lnTo>
                <a:lnTo>
                  <a:pt x="43649" y="56527"/>
                </a:lnTo>
                <a:lnTo>
                  <a:pt x="41516" y="52489"/>
                </a:lnTo>
                <a:lnTo>
                  <a:pt x="41516" y="42456"/>
                </a:lnTo>
                <a:lnTo>
                  <a:pt x="43751" y="38176"/>
                </a:lnTo>
                <a:lnTo>
                  <a:pt x="52679" y="31318"/>
                </a:lnTo>
                <a:lnTo>
                  <a:pt x="58737" y="29616"/>
                </a:lnTo>
                <a:lnTo>
                  <a:pt x="126036" y="29616"/>
                </a:lnTo>
                <a:lnTo>
                  <a:pt x="125907" y="18008"/>
                </a:lnTo>
                <a:lnTo>
                  <a:pt x="82394" y="1265"/>
                </a:lnTo>
                <a:lnTo>
                  <a:pt x="73396" y="316"/>
                </a:lnTo>
                <a:lnTo>
                  <a:pt x="64147" y="0"/>
                </a:lnTo>
                <a:close/>
              </a:path>
              <a:path w="132715" h="167005">
                <a:moveTo>
                  <a:pt x="126036" y="29616"/>
                </a:moveTo>
                <a:lnTo>
                  <a:pt x="71831" y="29616"/>
                </a:lnTo>
                <a:lnTo>
                  <a:pt x="76822" y="30403"/>
                </a:lnTo>
                <a:lnTo>
                  <a:pt x="85851" y="33578"/>
                </a:lnTo>
                <a:lnTo>
                  <a:pt x="89585" y="35560"/>
                </a:lnTo>
                <a:lnTo>
                  <a:pt x="92570" y="37947"/>
                </a:lnTo>
                <a:lnTo>
                  <a:pt x="97180" y="58039"/>
                </a:lnTo>
                <a:lnTo>
                  <a:pt x="126352" y="58039"/>
                </a:lnTo>
                <a:lnTo>
                  <a:pt x="126036" y="296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4" name="object 8">
            <a:extLst>
              <a:ext uri="{FF2B5EF4-FFF2-40B4-BE49-F238E27FC236}">
                <a16:creationId xmlns:a16="http://schemas.microsoft.com/office/drawing/2014/main" id="{C0712352-14F6-47D6-82D7-87CDBAA190CB}"/>
              </a:ext>
            </a:extLst>
          </p:cNvPr>
          <p:cNvSpPr/>
          <p:nvPr/>
        </p:nvSpPr>
        <p:spPr>
          <a:xfrm>
            <a:off x="3849280" y="2129370"/>
            <a:ext cx="87630" cy="232410"/>
          </a:xfrm>
          <a:custGeom>
            <a:avLst/>
            <a:gdLst/>
            <a:ahLst/>
            <a:cxnLst/>
            <a:rect l="l" t="t" r="r" b="b"/>
            <a:pathLst>
              <a:path w="87630" h="232409">
                <a:moveTo>
                  <a:pt x="66675" y="0"/>
                </a:moveTo>
                <a:lnTo>
                  <a:pt x="23215" y="0"/>
                </a:lnTo>
                <a:lnTo>
                  <a:pt x="23215" y="32588"/>
                </a:lnTo>
                <a:lnTo>
                  <a:pt x="66675" y="32588"/>
                </a:lnTo>
                <a:lnTo>
                  <a:pt x="66675" y="0"/>
                </a:lnTo>
                <a:close/>
              </a:path>
              <a:path w="87630" h="232409">
                <a:moveTo>
                  <a:pt x="66675" y="71132"/>
                </a:moveTo>
                <a:lnTo>
                  <a:pt x="0" y="71132"/>
                </a:lnTo>
                <a:lnTo>
                  <a:pt x="0" y="97332"/>
                </a:lnTo>
                <a:lnTo>
                  <a:pt x="23215" y="101790"/>
                </a:lnTo>
                <a:lnTo>
                  <a:pt x="23215" y="201650"/>
                </a:lnTo>
                <a:lnTo>
                  <a:pt x="2235" y="206121"/>
                </a:lnTo>
                <a:lnTo>
                  <a:pt x="2235" y="232168"/>
                </a:lnTo>
                <a:lnTo>
                  <a:pt x="87503" y="232168"/>
                </a:lnTo>
                <a:lnTo>
                  <a:pt x="87503" y="206121"/>
                </a:lnTo>
                <a:lnTo>
                  <a:pt x="66675" y="201650"/>
                </a:lnTo>
                <a:lnTo>
                  <a:pt x="66675" y="711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6" name="object 9">
            <a:extLst>
              <a:ext uri="{FF2B5EF4-FFF2-40B4-BE49-F238E27FC236}">
                <a16:creationId xmlns:a16="http://schemas.microsoft.com/office/drawing/2014/main" id="{534163AD-3C21-4332-9BD7-1332153EAB6C}"/>
              </a:ext>
            </a:extLst>
          </p:cNvPr>
          <p:cNvSpPr/>
          <p:nvPr/>
        </p:nvSpPr>
        <p:spPr>
          <a:xfrm>
            <a:off x="3946460" y="2197532"/>
            <a:ext cx="184785" cy="164465"/>
          </a:xfrm>
          <a:custGeom>
            <a:avLst/>
            <a:gdLst/>
            <a:ahLst/>
            <a:cxnLst/>
            <a:rect l="l" t="t" r="r" b="b"/>
            <a:pathLst>
              <a:path w="184784" h="164465">
                <a:moveTo>
                  <a:pt x="63550" y="2971"/>
                </a:moveTo>
                <a:lnTo>
                  <a:pt x="0" y="2971"/>
                </a:lnTo>
                <a:lnTo>
                  <a:pt x="0" y="29171"/>
                </a:lnTo>
                <a:lnTo>
                  <a:pt x="23075" y="33629"/>
                </a:lnTo>
                <a:lnTo>
                  <a:pt x="23075" y="133489"/>
                </a:lnTo>
                <a:lnTo>
                  <a:pt x="2235" y="137960"/>
                </a:lnTo>
                <a:lnTo>
                  <a:pt x="2235" y="164007"/>
                </a:lnTo>
                <a:lnTo>
                  <a:pt x="84086" y="164007"/>
                </a:lnTo>
                <a:lnTo>
                  <a:pt x="84086" y="137960"/>
                </a:lnTo>
                <a:lnTo>
                  <a:pt x="66522" y="133489"/>
                </a:lnTo>
                <a:lnTo>
                  <a:pt x="66522" y="47180"/>
                </a:lnTo>
                <a:lnTo>
                  <a:pt x="69608" y="42913"/>
                </a:lnTo>
                <a:lnTo>
                  <a:pt x="73418" y="39611"/>
                </a:lnTo>
                <a:lnTo>
                  <a:pt x="82550" y="34950"/>
                </a:lnTo>
                <a:lnTo>
                  <a:pt x="87706" y="33781"/>
                </a:lnTo>
                <a:lnTo>
                  <a:pt x="159510" y="33781"/>
                </a:lnTo>
                <a:lnTo>
                  <a:pt x="156478" y="26034"/>
                </a:lnTo>
                <a:lnTo>
                  <a:pt x="65481" y="26034"/>
                </a:lnTo>
                <a:lnTo>
                  <a:pt x="63550" y="2971"/>
                </a:lnTo>
                <a:close/>
              </a:path>
              <a:path w="184784" h="164465">
                <a:moveTo>
                  <a:pt x="159510" y="33781"/>
                </a:moveTo>
                <a:lnTo>
                  <a:pt x="102298" y="33781"/>
                </a:lnTo>
                <a:lnTo>
                  <a:pt x="108889" y="36042"/>
                </a:lnTo>
                <a:lnTo>
                  <a:pt x="117627" y="45072"/>
                </a:lnTo>
                <a:lnTo>
                  <a:pt x="119811" y="52730"/>
                </a:lnTo>
                <a:lnTo>
                  <a:pt x="119811" y="133489"/>
                </a:lnTo>
                <a:lnTo>
                  <a:pt x="101206" y="137960"/>
                </a:lnTo>
                <a:lnTo>
                  <a:pt x="101206" y="164007"/>
                </a:lnTo>
                <a:lnTo>
                  <a:pt x="184251" y="164007"/>
                </a:lnTo>
                <a:lnTo>
                  <a:pt x="184251" y="137960"/>
                </a:lnTo>
                <a:lnTo>
                  <a:pt x="163410" y="133489"/>
                </a:lnTo>
                <a:lnTo>
                  <a:pt x="163410" y="63398"/>
                </a:lnTo>
                <a:lnTo>
                  <a:pt x="162555" y="48113"/>
                </a:lnTo>
                <a:lnTo>
                  <a:pt x="159968" y="34950"/>
                </a:lnTo>
                <a:lnTo>
                  <a:pt x="159510" y="33781"/>
                </a:lnTo>
                <a:close/>
              </a:path>
              <a:path w="184784" h="164465">
                <a:moveTo>
                  <a:pt x="111620" y="0"/>
                </a:moveTo>
                <a:lnTo>
                  <a:pt x="74452" y="15063"/>
                </a:lnTo>
                <a:lnTo>
                  <a:pt x="65481" y="26034"/>
                </a:lnTo>
                <a:lnTo>
                  <a:pt x="156478" y="26034"/>
                </a:lnTo>
                <a:lnTo>
                  <a:pt x="123159" y="957"/>
                </a:lnTo>
                <a:lnTo>
                  <a:pt x="1116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8" name="object 10">
            <a:extLst>
              <a:ext uri="{FF2B5EF4-FFF2-40B4-BE49-F238E27FC236}">
                <a16:creationId xmlns:a16="http://schemas.microsoft.com/office/drawing/2014/main" id="{04E2CF32-EE57-414B-93C1-38FA3F4812FD}"/>
              </a:ext>
            </a:extLst>
          </p:cNvPr>
          <p:cNvSpPr/>
          <p:nvPr/>
        </p:nvSpPr>
        <p:spPr>
          <a:xfrm>
            <a:off x="4145737" y="2197532"/>
            <a:ext cx="145415" cy="229235"/>
          </a:xfrm>
          <a:custGeom>
            <a:avLst/>
            <a:gdLst/>
            <a:ahLst/>
            <a:cxnLst/>
            <a:rect l="l" t="t" r="r" b="b"/>
            <a:pathLst>
              <a:path w="145415" h="229234">
                <a:moveTo>
                  <a:pt x="27241" y="186042"/>
                </a:moveTo>
                <a:lnTo>
                  <a:pt x="19202" y="216547"/>
                </a:lnTo>
                <a:lnTo>
                  <a:pt x="25134" y="219298"/>
                </a:lnTo>
                <a:lnTo>
                  <a:pt x="31327" y="221740"/>
                </a:lnTo>
                <a:lnTo>
                  <a:pt x="70396" y="229044"/>
                </a:lnTo>
                <a:lnTo>
                  <a:pt x="86948" y="227858"/>
                </a:lnTo>
                <a:lnTo>
                  <a:pt x="125387" y="210070"/>
                </a:lnTo>
                <a:lnTo>
                  <a:pt x="136285" y="195707"/>
                </a:lnTo>
                <a:lnTo>
                  <a:pt x="62356" y="195707"/>
                </a:lnTo>
                <a:lnTo>
                  <a:pt x="55016" y="194843"/>
                </a:lnTo>
                <a:lnTo>
                  <a:pt x="41122" y="191376"/>
                </a:lnTo>
                <a:lnTo>
                  <a:pt x="34188" y="189014"/>
                </a:lnTo>
                <a:lnTo>
                  <a:pt x="27241" y="186042"/>
                </a:lnTo>
                <a:close/>
              </a:path>
              <a:path w="145415" h="229234">
                <a:moveTo>
                  <a:pt x="145402" y="148539"/>
                </a:moveTo>
                <a:lnTo>
                  <a:pt x="101803" y="148539"/>
                </a:lnTo>
                <a:lnTo>
                  <a:pt x="101794" y="159245"/>
                </a:lnTo>
                <a:lnTo>
                  <a:pt x="101310" y="167261"/>
                </a:lnTo>
                <a:lnTo>
                  <a:pt x="70103" y="195707"/>
                </a:lnTo>
                <a:lnTo>
                  <a:pt x="136285" y="195707"/>
                </a:lnTo>
                <a:lnTo>
                  <a:pt x="140400" y="187877"/>
                </a:lnTo>
                <a:lnTo>
                  <a:pt x="144151" y="174366"/>
                </a:lnTo>
                <a:lnTo>
                  <a:pt x="145402" y="159245"/>
                </a:lnTo>
                <a:lnTo>
                  <a:pt x="145402" y="148539"/>
                </a:lnTo>
                <a:close/>
              </a:path>
              <a:path w="145415" h="229234">
                <a:moveTo>
                  <a:pt x="72135" y="0"/>
                </a:moveTo>
                <a:lnTo>
                  <a:pt x="63106" y="0"/>
                </a:lnTo>
                <a:lnTo>
                  <a:pt x="48983" y="1461"/>
                </a:lnTo>
                <a:lnTo>
                  <a:pt x="16598" y="23368"/>
                </a:lnTo>
                <a:lnTo>
                  <a:pt x="1038" y="66707"/>
                </a:lnTo>
                <a:lnTo>
                  <a:pt x="0" y="84836"/>
                </a:lnTo>
                <a:lnTo>
                  <a:pt x="0" y="87960"/>
                </a:lnTo>
                <a:lnTo>
                  <a:pt x="9338" y="133573"/>
                </a:lnTo>
                <a:lnTo>
                  <a:pt x="36447" y="161683"/>
                </a:lnTo>
                <a:lnTo>
                  <a:pt x="62801" y="167132"/>
                </a:lnTo>
                <a:lnTo>
                  <a:pt x="71145" y="167132"/>
                </a:lnTo>
                <a:lnTo>
                  <a:pt x="78536" y="165544"/>
                </a:lnTo>
                <a:lnTo>
                  <a:pt x="91427" y="159194"/>
                </a:lnTo>
                <a:lnTo>
                  <a:pt x="97040" y="154584"/>
                </a:lnTo>
                <a:lnTo>
                  <a:pt x="101803" y="148539"/>
                </a:lnTo>
                <a:lnTo>
                  <a:pt x="145402" y="148539"/>
                </a:lnTo>
                <a:lnTo>
                  <a:pt x="145402" y="133350"/>
                </a:lnTo>
                <a:lnTo>
                  <a:pt x="73825" y="133350"/>
                </a:lnTo>
                <a:lnTo>
                  <a:pt x="66343" y="132592"/>
                </a:lnTo>
                <a:lnTo>
                  <a:pt x="43904" y="97961"/>
                </a:lnTo>
                <a:lnTo>
                  <a:pt x="43459" y="87960"/>
                </a:lnTo>
                <a:lnTo>
                  <a:pt x="43459" y="84836"/>
                </a:lnTo>
                <a:lnTo>
                  <a:pt x="55045" y="41738"/>
                </a:lnTo>
                <a:lnTo>
                  <a:pt x="74117" y="33782"/>
                </a:lnTo>
                <a:lnTo>
                  <a:pt x="145402" y="33782"/>
                </a:lnTo>
                <a:lnTo>
                  <a:pt x="145402" y="23215"/>
                </a:lnTo>
                <a:lnTo>
                  <a:pt x="104482" y="23215"/>
                </a:lnTo>
                <a:lnTo>
                  <a:pt x="99618" y="15773"/>
                </a:lnTo>
                <a:lnTo>
                  <a:pt x="93764" y="10045"/>
                </a:lnTo>
                <a:lnTo>
                  <a:pt x="80073" y="2006"/>
                </a:lnTo>
                <a:lnTo>
                  <a:pt x="72135" y="0"/>
                </a:lnTo>
                <a:close/>
              </a:path>
              <a:path w="145415" h="229234">
                <a:moveTo>
                  <a:pt x="145402" y="33782"/>
                </a:moveTo>
                <a:lnTo>
                  <a:pt x="80568" y="33782"/>
                </a:lnTo>
                <a:lnTo>
                  <a:pt x="86093" y="35128"/>
                </a:lnTo>
                <a:lnTo>
                  <a:pt x="95326" y="40487"/>
                </a:lnTo>
                <a:lnTo>
                  <a:pt x="99021" y="44259"/>
                </a:lnTo>
                <a:lnTo>
                  <a:pt x="101803" y="49110"/>
                </a:lnTo>
                <a:lnTo>
                  <a:pt x="101803" y="119062"/>
                </a:lnTo>
                <a:lnTo>
                  <a:pt x="99021" y="123723"/>
                </a:lnTo>
                <a:lnTo>
                  <a:pt x="95326" y="127279"/>
                </a:lnTo>
                <a:lnTo>
                  <a:pt x="86093" y="132143"/>
                </a:lnTo>
                <a:lnTo>
                  <a:pt x="80467" y="133350"/>
                </a:lnTo>
                <a:lnTo>
                  <a:pt x="145402" y="133350"/>
                </a:lnTo>
                <a:lnTo>
                  <a:pt x="145402" y="33782"/>
                </a:lnTo>
                <a:close/>
              </a:path>
              <a:path w="145415" h="229234">
                <a:moveTo>
                  <a:pt x="145402" y="2984"/>
                </a:moveTo>
                <a:lnTo>
                  <a:pt x="107607" y="2984"/>
                </a:lnTo>
                <a:lnTo>
                  <a:pt x="104482" y="23215"/>
                </a:lnTo>
                <a:lnTo>
                  <a:pt x="145402" y="23215"/>
                </a:lnTo>
                <a:lnTo>
                  <a:pt x="145402" y="29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0" name="object 11">
            <a:extLst>
              <a:ext uri="{FF2B5EF4-FFF2-40B4-BE49-F238E27FC236}">
                <a16:creationId xmlns:a16="http://schemas.microsoft.com/office/drawing/2014/main" id="{F432E051-B43F-4858-96A8-669F98527CB5}"/>
              </a:ext>
            </a:extLst>
          </p:cNvPr>
          <p:cNvSpPr/>
          <p:nvPr/>
        </p:nvSpPr>
        <p:spPr>
          <a:xfrm>
            <a:off x="4390859" y="2129371"/>
            <a:ext cx="1350022" cy="29720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2" name="object 42">
            <a:extLst>
              <a:ext uri="{FF2B5EF4-FFF2-40B4-BE49-F238E27FC236}">
                <a16:creationId xmlns:a16="http://schemas.microsoft.com/office/drawing/2014/main" id="{F7A2C63A-230D-4BCE-9E0E-266E5B4E06A4}"/>
              </a:ext>
            </a:extLst>
          </p:cNvPr>
          <p:cNvSpPr/>
          <p:nvPr/>
        </p:nvSpPr>
        <p:spPr>
          <a:xfrm>
            <a:off x="3207977" y="2725127"/>
            <a:ext cx="3420888" cy="50576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bject 43">
            <a:extLst>
              <a:ext uri="{FF2B5EF4-FFF2-40B4-BE49-F238E27FC236}">
                <a16:creationId xmlns:a16="http://schemas.microsoft.com/office/drawing/2014/main" id="{A196D9B4-198C-429F-B837-576FFD69B8B2}"/>
              </a:ext>
            </a:extLst>
          </p:cNvPr>
          <p:cNvSpPr/>
          <p:nvPr/>
        </p:nvSpPr>
        <p:spPr>
          <a:xfrm>
            <a:off x="3206114" y="3437889"/>
            <a:ext cx="264548" cy="11764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6" name="object 44">
            <a:extLst>
              <a:ext uri="{FF2B5EF4-FFF2-40B4-BE49-F238E27FC236}">
                <a16:creationId xmlns:a16="http://schemas.microsoft.com/office/drawing/2014/main" id="{EFD3F252-833B-4A83-8D2B-C16F25B5A196}"/>
              </a:ext>
            </a:extLst>
          </p:cNvPr>
          <p:cNvSpPr/>
          <p:nvPr/>
        </p:nvSpPr>
        <p:spPr>
          <a:xfrm>
            <a:off x="4208881" y="3437877"/>
            <a:ext cx="503478" cy="11766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8" name="object 45">
            <a:extLst>
              <a:ext uri="{FF2B5EF4-FFF2-40B4-BE49-F238E27FC236}">
                <a16:creationId xmlns:a16="http://schemas.microsoft.com/office/drawing/2014/main" id="{E0F1C0E1-18CC-4D29-8E33-B6B9EA69B987}"/>
              </a:ext>
            </a:extLst>
          </p:cNvPr>
          <p:cNvSpPr/>
          <p:nvPr/>
        </p:nvSpPr>
        <p:spPr>
          <a:xfrm>
            <a:off x="4792497" y="3437889"/>
            <a:ext cx="370509" cy="11764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0" name="object 46">
            <a:extLst>
              <a:ext uri="{FF2B5EF4-FFF2-40B4-BE49-F238E27FC236}">
                <a16:creationId xmlns:a16="http://schemas.microsoft.com/office/drawing/2014/main" id="{4CBE16D1-F089-484E-8E5D-996550E3078D}"/>
              </a:ext>
            </a:extLst>
          </p:cNvPr>
          <p:cNvSpPr/>
          <p:nvPr/>
        </p:nvSpPr>
        <p:spPr>
          <a:xfrm>
            <a:off x="5244376" y="3437877"/>
            <a:ext cx="114071" cy="1176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2" name="object 47">
            <a:extLst>
              <a:ext uri="{FF2B5EF4-FFF2-40B4-BE49-F238E27FC236}">
                <a16:creationId xmlns:a16="http://schemas.microsoft.com/office/drawing/2014/main" id="{3ACA081B-9AD8-4D25-8B5E-5B4BEE8F8433}"/>
              </a:ext>
            </a:extLst>
          </p:cNvPr>
          <p:cNvSpPr/>
          <p:nvPr/>
        </p:nvSpPr>
        <p:spPr>
          <a:xfrm>
            <a:off x="5931205" y="3537534"/>
            <a:ext cx="22225" cy="40005"/>
          </a:xfrm>
          <a:custGeom>
            <a:avLst/>
            <a:gdLst/>
            <a:ahLst/>
            <a:cxnLst/>
            <a:rect l="l" t="t" r="r" b="b"/>
            <a:pathLst>
              <a:path w="22225" h="40005">
                <a:moveTo>
                  <a:pt x="21729" y="0"/>
                </a:moveTo>
                <a:lnTo>
                  <a:pt x="7073" y="0"/>
                </a:lnTo>
                <a:lnTo>
                  <a:pt x="7002" y="15951"/>
                </a:lnTo>
                <a:lnTo>
                  <a:pt x="6477" y="19418"/>
                </a:lnTo>
                <a:lnTo>
                  <a:pt x="4089" y="26860"/>
                </a:lnTo>
                <a:lnTo>
                  <a:pt x="2336" y="30505"/>
                </a:lnTo>
                <a:lnTo>
                  <a:pt x="0" y="34086"/>
                </a:lnTo>
                <a:lnTo>
                  <a:pt x="8255" y="39585"/>
                </a:lnTo>
                <a:lnTo>
                  <a:pt x="12382" y="36068"/>
                </a:lnTo>
                <a:lnTo>
                  <a:pt x="15646" y="31648"/>
                </a:lnTo>
                <a:lnTo>
                  <a:pt x="20510" y="21031"/>
                </a:lnTo>
                <a:lnTo>
                  <a:pt x="21729" y="15951"/>
                </a:lnTo>
                <a:lnTo>
                  <a:pt x="217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4" name="object 48">
            <a:extLst>
              <a:ext uri="{FF2B5EF4-FFF2-40B4-BE49-F238E27FC236}">
                <a16:creationId xmlns:a16="http://schemas.microsoft.com/office/drawing/2014/main" id="{B15D9807-31C7-47B0-8953-033EDEC99644}"/>
              </a:ext>
            </a:extLst>
          </p:cNvPr>
          <p:cNvSpPr/>
          <p:nvPr/>
        </p:nvSpPr>
        <p:spPr>
          <a:xfrm>
            <a:off x="3207085" y="3437877"/>
            <a:ext cx="3420739" cy="103761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80744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/>
        <AccountId xsi:nil="true"/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32FB70-C7E1-4ED7-B73F-330059D54E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9</TotalTime>
  <Words>777</Words>
  <Application>Microsoft Office PowerPoint</Application>
  <PresentationFormat>A4 Paper (210x297 mm)</PresentationFormat>
  <Paragraphs>88</Paragraphs>
  <Slides>25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6" baseType="lpstr">
      <vt:lpstr>Tema de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Charlene Naidoo</cp:lastModifiedBy>
  <cp:revision>39</cp:revision>
  <dcterms:created xsi:type="dcterms:W3CDTF">2016-07-11T04:31:49Z</dcterms:created>
  <dcterms:modified xsi:type="dcterms:W3CDTF">2024-03-02T19:0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</Properties>
</file>